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3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5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5"/>
    <p:sldMasterId id="2147483737" r:id="rId6"/>
    <p:sldMasterId id="2147483809" r:id="rId7"/>
    <p:sldMasterId id="2147483888" r:id="rId8"/>
    <p:sldMasterId id="2147483904" r:id="rId9"/>
  </p:sldMasterIdLst>
  <p:notesMasterIdLst>
    <p:notesMasterId r:id="rId17"/>
  </p:notesMasterIdLst>
  <p:handoutMasterIdLst>
    <p:handoutMasterId r:id="rId18"/>
  </p:handoutMasterIdLst>
  <p:sldIdLst>
    <p:sldId id="265" r:id="rId10"/>
    <p:sldId id="2147374939" r:id="rId11"/>
    <p:sldId id="2147374940" r:id="rId12"/>
    <p:sldId id="2147374941" r:id="rId13"/>
    <p:sldId id="2147374942" r:id="rId14"/>
    <p:sldId id="2147374943" r:id="rId15"/>
    <p:sldId id="325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2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2BBAD"/>
    <a:srgbClr val="C6B52E"/>
    <a:srgbClr val="69614E"/>
    <a:srgbClr val="A2AA3D"/>
    <a:srgbClr val="77C19A"/>
    <a:srgbClr val="84B5BD"/>
    <a:srgbClr val="6F90A7"/>
    <a:srgbClr val="E42313"/>
    <a:srgbClr val="E77F00"/>
    <a:srgbClr val="A1A2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6CDAD12-3D25-4E68-BD8D-E3B1633E0C35}" v="34" dt="2023-05-09T14:06:59.7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44" autoAdjust="0"/>
    <p:restoredTop sz="94660"/>
  </p:normalViewPr>
  <p:slideViewPr>
    <p:cSldViewPr showGuides="1">
      <p:cViewPr varScale="1">
        <p:scale>
          <a:sx n="67" d="100"/>
          <a:sy n="67" d="100"/>
        </p:scale>
        <p:origin x="732" y="44"/>
      </p:cViewPr>
      <p:guideLst>
        <p:guide orient="horz" pos="252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54" d="100"/>
          <a:sy n="54" d="100"/>
        </p:scale>
        <p:origin x="2562" y="78"/>
      </p:cViewPr>
      <p:guideLst/>
    </p:cSldViewPr>
  </p:notesViewPr>
  <p:gridSpacing cx="73152" cy="73152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4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2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6.xml"/><Relationship Id="rId23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5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kail" userId="93f6f14b-3739-43d9-80c6-db9fb3c3df09" providerId="ADAL" clId="{C6CDAD12-3D25-4E68-BD8D-E3B1633E0C35}"/>
    <pc:docChg chg="undo redo custSel addSld delSld modSld delMainMaster">
      <pc:chgData name="Mikail" userId="93f6f14b-3739-43d9-80c6-db9fb3c3df09" providerId="ADAL" clId="{C6CDAD12-3D25-4E68-BD8D-E3B1633E0C35}" dt="2023-05-09T14:09:30.162" v="426"/>
      <pc:docMkLst>
        <pc:docMk/>
      </pc:docMkLst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2418187029" sldId="256"/>
        </pc:sldMkLst>
      </pc:sldChg>
      <pc:sldChg chg="modSp mod">
        <pc:chgData name="Mikail" userId="93f6f14b-3739-43d9-80c6-db9fb3c3df09" providerId="ADAL" clId="{C6CDAD12-3D25-4E68-BD8D-E3B1633E0C35}" dt="2023-05-09T13:46:41.853" v="47" actId="20577"/>
        <pc:sldMkLst>
          <pc:docMk/>
          <pc:sldMk cId="3099601995" sldId="265"/>
        </pc:sldMkLst>
        <pc:spChg chg="mod">
          <ac:chgData name="Mikail" userId="93f6f14b-3739-43d9-80c6-db9fb3c3df09" providerId="ADAL" clId="{C6CDAD12-3D25-4E68-BD8D-E3B1633E0C35}" dt="2023-05-09T13:46:41.853" v="47" actId="20577"/>
          <ac:spMkLst>
            <pc:docMk/>
            <pc:sldMk cId="3099601995" sldId="265"/>
            <ac:spMk id="2" creationId="{3FD48B49-B862-45C6-BFCD-064FEF9AC8BC}"/>
          </ac:spMkLst>
        </pc:spChg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1677252738" sldId="287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2691286032" sldId="296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836332789" sldId="1765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1671132972" sldId="1782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2542807920" sldId="1794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3908770426" sldId="1796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2286356025" sldId="1824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858831124" sldId="1825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3709094202" sldId="1827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3167803688" sldId="1831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231407251" sldId="1832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888996706" sldId="1833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2294856452" sldId="1834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2952140178" sldId="1835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57145051" sldId="1836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1329096607" sldId="1837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177997039" sldId="1838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139998640" sldId="1839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1030609509" sldId="27398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3091828312" sldId="2145707840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2920703117" sldId="2145707850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1533986052" sldId="2145709536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1556823433" sldId="2145709770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891723037" sldId="2145709771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3020586191" sldId="2145709772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3298483843" sldId="2147374891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1381532757" sldId="2147374895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14198200" sldId="2147374904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210630700" sldId="2147374905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1478082158" sldId="2147374911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310500245" sldId="2147374912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1589690156" sldId="2147374924"/>
        </pc:sldMkLst>
      </pc:sldChg>
      <pc:sldChg chg="del">
        <pc:chgData name="Mikail" userId="93f6f14b-3739-43d9-80c6-db9fb3c3df09" providerId="ADAL" clId="{C6CDAD12-3D25-4E68-BD8D-E3B1633E0C35}" dt="2023-05-09T13:46:19.232" v="3" actId="47"/>
        <pc:sldMkLst>
          <pc:docMk/>
          <pc:sldMk cId="833452819" sldId="2147374938"/>
        </pc:sldMkLst>
      </pc:sldChg>
      <pc:sldChg chg="addSp delSp modSp mod">
        <pc:chgData name="Mikail" userId="93f6f14b-3739-43d9-80c6-db9fb3c3df09" providerId="ADAL" clId="{C6CDAD12-3D25-4E68-BD8D-E3B1633E0C35}" dt="2023-05-09T14:09:14.880" v="422" actId="20577"/>
        <pc:sldMkLst>
          <pc:docMk/>
          <pc:sldMk cId="3439787721" sldId="2147374939"/>
        </pc:sldMkLst>
        <pc:spChg chg="del">
          <ac:chgData name="Mikail" userId="93f6f14b-3739-43d9-80c6-db9fb3c3df09" providerId="ADAL" clId="{C6CDAD12-3D25-4E68-BD8D-E3B1633E0C35}" dt="2023-05-09T13:46:49.370" v="48" actId="478"/>
          <ac:spMkLst>
            <pc:docMk/>
            <pc:sldMk cId="3439787721" sldId="2147374939"/>
            <ac:spMk id="2" creationId="{9EB1149A-C42D-40DE-9F2B-88ADED8B1834}"/>
          </ac:spMkLst>
        </pc:spChg>
        <pc:spChg chg="mod">
          <ac:chgData name="Mikail" userId="93f6f14b-3739-43d9-80c6-db9fb3c3df09" providerId="ADAL" clId="{C6CDAD12-3D25-4E68-BD8D-E3B1633E0C35}" dt="2023-05-09T13:47:11.561" v="103" actId="20577"/>
          <ac:spMkLst>
            <pc:docMk/>
            <pc:sldMk cId="3439787721" sldId="2147374939"/>
            <ac:spMk id="3" creationId="{CD09BC89-A9C9-32DC-611F-3A11E6EFC936}"/>
          </ac:spMkLst>
        </pc:spChg>
        <pc:spChg chg="mod">
          <ac:chgData name="Mikail" userId="93f6f14b-3739-43d9-80c6-db9fb3c3df09" providerId="ADAL" clId="{C6CDAD12-3D25-4E68-BD8D-E3B1633E0C35}" dt="2023-05-09T14:09:14.880" v="422" actId="20577"/>
          <ac:spMkLst>
            <pc:docMk/>
            <pc:sldMk cId="3439787721" sldId="2147374939"/>
            <ac:spMk id="4" creationId="{0BEE889D-F89C-156B-F705-122C223E8C25}"/>
          </ac:spMkLst>
        </pc:spChg>
        <pc:spChg chg="add del mod">
          <ac:chgData name="Mikail" userId="93f6f14b-3739-43d9-80c6-db9fb3c3df09" providerId="ADAL" clId="{C6CDAD12-3D25-4E68-BD8D-E3B1633E0C35}" dt="2023-05-09T13:46:51.425" v="50" actId="478"/>
          <ac:spMkLst>
            <pc:docMk/>
            <pc:sldMk cId="3439787721" sldId="2147374939"/>
            <ac:spMk id="6" creationId="{C47737DA-AB46-B74E-11B4-CF3D21B0714E}"/>
          </ac:spMkLst>
        </pc:spChg>
        <pc:spChg chg="del">
          <ac:chgData name="Mikail" userId="93f6f14b-3739-43d9-80c6-db9fb3c3df09" providerId="ADAL" clId="{C6CDAD12-3D25-4E68-BD8D-E3B1633E0C35}" dt="2023-05-09T13:46:49.370" v="48" actId="478"/>
          <ac:spMkLst>
            <pc:docMk/>
            <pc:sldMk cId="3439787721" sldId="2147374939"/>
            <ac:spMk id="30" creationId="{D5620651-1253-925A-89BE-25F25BED770F}"/>
          </ac:spMkLst>
        </pc:spChg>
        <pc:spChg chg="add del">
          <ac:chgData name="Mikail" userId="93f6f14b-3739-43d9-80c6-db9fb3c3df09" providerId="ADAL" clId="{C6CDAD12-3D25-4E68-BD8D-E3B1633E0C35}" dt="2023-05-09T13:49:08.755" v="111" actId="478"/>
          <ac:spMkLst>
            <pc:docMk/>
            <pc:sldMk cId="3439787721" sldId="2147374939"/>
            <ac:spMk id="31" creationId="{54607473-B266-2C17-D14B-8E6F29BEB65B}"/>
          </ac:spMkLst>
        </pc:spChg>
        <pc:spChg chg="add del">
          <ac:chgData name="Mikail" userId="93f6f14b-3739-43d9-80c6-db9fb3c3df09" providerId="ADAL" clId="{C6CDAD12-3D25-4E68-BD8D-E3B1633E0C35}" dt="2023-05-09T13:49:08.755" v="111" actId="478"/>
          <ac:spMkLst>
            <pc:docMk/>
            <pc:sldMk cId="3439787721" sldId="2147374939"/>
            <ac:spMk id="32" creationId="{E92799A3-1AC7-19FB-2AF6-C7085C777ABE}"/>
          </ac:spMkLst>
        </pc:spChg>
        <pc:spChg chg="del">
          <ac:chgData name="Mikail" userId="93f6f14b-3739-43d9-80c6-db9fb3c3df09" providerId="ADAL" clId="{C6CDAD12-3D25-4E68-BD8D-E3B1633E0C35}" dt="2023-05-09T13:46:49.370" v="48" actId="478"/>
          <ac:spMkLst>
            <pc:docMk/>
            <pc:sldMk cId="3439787721" sldId="2147374939"/>
            <ac:spMk id="37" creationId="{DDDE4216-9408-4C19-A564-8D837FAD7484}"/>
          </ac:spMkLst>
        </pc:spChg>
        <pc:spChg chg="del">
          <ac:chgData name="Mikail" userId="93f6f14b-3739-43d9-80c6-db9fb3c3df09" providerId="ADAL" clId="{C6CDAD12-3D25-4E68-BD8D-E3B1633E0C35}" dt="2023-05-09T13:46:49.370" v="48" actId="478"/>
          <ac:spMkLst>
            <pc:docMk/>
            <pc:sldMk cId="3439787721" sldId="2147374939"/>
            <ac:spMk id="38" creationId="{7ADA2F0C-B130-4ECB-853B-FECF9298DC23}"/>
          </ac:spMkLst>
        </pc:spChg>
        <pc:grpChg chg="del">
          <ac:chgData name="Mikail" userId="93f6f14b-3739-43d9-80c6-db9fb3c3df09" providerId="ADAL" clId="{C6CDAD12-3D25-4E68-BD8D-E3B1633E0C35}" dt="2023-05-09T13:46:49.370" v="48" actId="478"/>
          <ac:grpSpMkLst>
            <pc:docMk/>
            <pc:sldMk cId="3439787721" sldId="2147374939"/>
            <ac:grpSpMk id="34" creationId="{29FAE083-37D7-4450-4767-D3782AA9D277}"/>
          </ac:grpSpMkLst>
        </pc:grpChg>
        <pc:graphicFrameChg chg="add mod modGraphic">
          <ac:chgData name="Mikail" userId="93f6f14b-3739-43d9-80c6-db9fb3c3df09" providerId="ADAL" clId="{C6CDAD12-3D25-4E68-BD8D-E3B1633E0C35}" dt="2023-05-09T14:08:42.593" v="400" actId="20577"/>
          <ac:graphicFrameMkLst>
            <pc:docMk/>
            <pc:sldMk cId="3439787721" sldId="2147374939"/>
            <ac:graphicFrameMk id="7" creationId="{EEB914D4-4379-B8E8-388D-E30183D0FB48}"/>
          </ac:graphicFrameMkLst>
        </pc:graphicFrameChg>
        <pc:picChg chg="add mod">
          <ac:chgData name="Mikail" userId="93f6f14b-3739-43d9-80c6-db9fb3c3df09" providerId="ADAL" clId="{C6CDAD12-3D25-4E68-BD8D-E3B1633E0C35}" dt="2023-05-09T13:54:40.793" v="202" actId="1076"/>
          <ac:picMkLst>
            <pc:docMk/>
            <pc:sldMk cId="3439787721" sldId="2147374939"/>
            <ac:picMk id="29" creationId="{90FCC8C5-F589-469D-FA00-A7204A956878}"/>
          </ac:picMkLst>
        </pc:picChg>
        <pc:picChg chg="del">
          <ac:chgData name="Mikail" userId="93f6f14b-3739-43d9-80c6-db9fb3c3df09" providerId="ADAL" clId="{C6CDAD12-3D25-4E68-BD8D-E3B1633E0C35}" dt="2023-05-09T13:46:49.370" v="48" actId="478"/>
          <ac:picMkLst>
            <pc:docMk/>
            <pc:sldMk cId="3439787721" sldId="2147374939"/>
            <ac:picMk id="35" creationId="{D905E060-1BC6-A383-9F9C-5C8BE79B2214}"/>
          </ac:picMkLst>
        </pc:picChg>
      </pc:sldChg>
      <pc:sldChg chg="addSp delSp modSp add mod">
        <pc:chgData name="Mikail" userId="93f6f14b-3739-43d9-80c6-db9fb3c3df09" providerId="ADAL" clId="{C6CDAD12-3D25-4E68-BD8D-E3B1633E0C35}" dt="2023-05-09T14:09:19.875" v="423"/>
        <pc:sldMkLst>
          <pc:docMk/>
          <pc:sldMk cId="1826117688" sldId="2147374940"/>
        </pc:sldMkLst>
        <pc:spChg chg="mod">
          <ac:chgData name="Mikail" userId="93f6f14b-3739-43d9-80c6-db9fb3c3df09" providerId="ADAL" clId="{C6CDAD12-3D25-4E68-BD8D-E3B1633E0C35}" dt="2023-05-09T14:09:19.875" v="423"/>
          <ac:spMkLst>
            <pc:docMk/>
            <pc:sldMk cId="1826117688" sldId="2147374940"/>
            <ac:spMk id="4" creationId="{0BEE889D-F89C-156B-F705-122C223E8C25}"/>
          </ac:spMkLst>
        </pc:spChg>
        <pc:graphicFrameChg chg="mod modGraphic">
          <ac:chgData name="Mikail" userId="93f6f14b-3739-43d9-80c6-db9fb3c3df09" providerId="ADAL" clId="{C6CDAD12-3D25-4E68-BD8D-E3B1633E0C35}" dt="2023-05-09T14:08:05.817" v="398" actId="20577"/>
          <ac:graphicFrameMkLst>
            <pc:docMk/>
            <pc:sldMk cId="1826117688" sldId="2147374940"/>
            <ac:graphicFrameMk id="7" creationId="{EEB914D4-4379-B8E8-388D-E30183D0FB48}"/>
          </ac:graphicFrameMkLst>
        </pc:graphicFrameChg>
        <pc:picChg chg="add del mod">
          <ac:chgData name="Mikail" userId="93f6f14b-3739-43d9-80c6-db9fb3c3df09" providerId="ADAL" clId="{C6CDAD12-3D25-4E68-BD8D-E3B1633E0C35}" dt="2023-05-09T13:53:52.724" v="192" actId="21"/>
          <ac:picMkLst>
            <pc:docMk/>
            <pc:sldMk cId="1826117688" sldId="2147374940"/>
            <ac:picMk id="1025" creationId="{6AE06B95-0F62-B142-2EAA-4985F792D2F7}"/>
          </ac:picMkLst>
        </pc:picChg>
      </pc:sldChg>
      <pc:sldChg chg="del">
        <pc:chgData name="Mikail" userId="93f6f14b-3739-43d9-80c6-db9fb3c3df09" providerId="ADAL" clId="{C6CDAD12-3D25-4E68-BD8D-E3B1633E0C35}" dt="2023-05-09T13:46:15.033" v="2" actId="47"/>
        <pc:sldMkLst>
          <pc:docMk/>
          <pc:sldMk cId="2443317193" sldId="2147374940"/>
        </pc:sldMkLst>
      </pc:sldChg>
      <pc:sldChg chg="modSp add del mod">
        <pc:chgData name="Mikail" userId="93f6f14b-3739-43d9-80c6-db9fb3c3df09" providerId="ADAL" clId="{C6CDAD12-3D25-4E68-BD8D-E3B1633E0C35}" dt="2023-05-09T14:00:47.326" v="309" actId="47"/>
        <pc:sldMkLst>
          <pc:docMk/>
          <pc:sldMk cId="1429940260" sldId="2147374941"/>
        </pc:sldMkLst>
        <pc:graphicFrameChg chg="mod modGraphic">
          <ac:chgData name="Mikail" userId="93f6f14b-3739-43d9-80c6-db9fb3c3df09" providerId="ADAL" clId="{C6CDAD12-3D25-4E68-BD8D-E3B1633E0C35}" dt="2023-05-09T13:59:32.080" v="295" actId="403"/>
          <ac:graphicFrameMkLst>
            <pc:docMk/>
            <pc:sldMk cId="1429940260" sldId="2147374941"/>
            <ac:graphicFrameMk id="7" creationId="{EEB914D4-4379-B8E8-388D-E30183D0FB48}"/>
          </ac:graphicFrameMkLst>
        </pc:graphicFrameChg>
      </pc:sldChg>
      <pc:sldChg chg="del">
        <pc:chgData name="Mikail" userId="93f6f14b-3739-43d9-80c6-db9fb3c3df09" providerId="ADAL" clId="{C6CDAD12-3D25-4E68-BD8D-E3B1633E0C35}" dt="2023-05-09T13:46:15.033" v="2" actId="47"/>
        <pc:sldMkLst>
          <pc:docMk/>
          <pc:sldMk cId="3509875730" sldId="2147374941"/>
        </pc:sldMkLst>
      </pc:sldChg>
      <pc:sldChg chg="modSp add mod">
        <pc:chgData name="Mikail" userId="93f6f14b-3739-43d9-80c6-db9fb3c3df09" providerId="ADAL" clId="{C6CDAD12-3D25-4E68-BD8D-E3B1633E0C35}" dt="2023-05-09T14:09:23.460" v="424"/>
        <pc:sldMkLst>
          <pc:docMk/>
          <pc:sldMk cId="3739498655" sldId="2147374941"/>
        </pc:sldMkLst>
        <pc:spChg chg="mod">
          <ac:chgData name="Mikail" userId="93f6f14b-3739-43d9-80c6-db9fb3c3df09" providerId="ADAL" clId="{C6CDAD12-3D25-4E68-BD8D-E3B1633E0C35}" dt="2023-05-09T14:09:23.460" v="424"/>
          <ac:spMkLst>
            <pc:docMk/>
            <pc:sldMk cId="3739498655" sldId="2147374941"/>
            <ac:spMk id="4" creationId="{0BEE889D-F89C-156B-F705-122C223E8C25}"/>
          </ac:spMkLst>
        </pc:spChg>
        <pc:graphicFrameChg chg="mod modGraphic">
          <ac:chgData name="Mikail" userId="93f6f14b-3739-43d9-80c6-db9fb3c3df09" providerId="ADAL" clId="{C6CDAD12-3D25-4E68-BD8D-E3B1633E0C35}" dt="2023-05-09T14:03:42.045" v="339" actId="20577"/>
          <ac:graphicFrameMkLst>
            <pc:docMk/>
            <pc:sldMk cId="3739498655" sldId="2147374941"/>
            <ac:graphicFrameMk id="7" creationId="{EEB914D4-4379-B8E8-388D-E30183D0FB48}"/>
          </ac:graphicFrameMkLst>
        </pc:graphicFrameChg>
      </pc:sldChg>
      <pc:sldChg chg="del">
        <pc:chgData name="Mikail" userId="93f6f14b-3739-43d9-80c6-db9fb3c3df09" providerId="ADAL" clId="{C6CDAD12-3D25-4E68-BD8D-E3B1633E0C35}" dt="2023-05-09T13:46:15.033" v="2" actId="47"/>
        <pc:sldMkLst>
          <pc:docMk/>
          <pc:sldMk cId="890961941" sldId="2147374942"/>
        </pc:sldMkLst>
      </pc:sldChg>
      <pc:sldChg chg="modSp add mod">
        <pc:chgData name="Mikail" userId="93f6f14b-3739-43d9-80c6-db9fb3c3df09" providerId="ADAL" clId="{C6CDAD12-3D25-4E68-BD8D-E3B1633E0C35}" dt="2023-05-09T14:09:26.747" v="425"/>
        <pc:sldMkLst>
          <pc:docMk/>
          <pc:sldMk cId="3617881301" sldId="2147374942"/>
        </pc:sldMkLst>
        <pc:spChg chg="mod">
          <ac:chgData name="Mikail" userId="93f6f14b-3739-43d9-80c6-db9fb3c3df09" providerId="ADAL" clId="{C6CDAD12-3D25-4E68-BD8D-E3B1633E0C35}" dt="2023-05-09T14:09:26.747" v="425"/>
          <ac:spMkLst>
            <pc:docMk/>
            <pc:sldMk cId="3617881301" sldId="2147374942"/>
            <ac:spMk id="4" creationId="{0BEE889D-F89C-156B-F705-122C223E8C25}"/>
          </ac:spMkLst>
        </pc:spChg>
        <pc:graphicFrameChg chg="mod modGraphic">
          <ac:chgData name="Mikail" userId="93f6f14b-3739-43d9-80c6-db9fb3c3df09" providerId="ADAL" clId="{C6CDAD12-3D25-4E68-BD8D-E3B1633E0C35}" dt="2023-05-09T14:05:42.110" v="364"/>
          <ac:graphicFrameMkLst>
            <pc:docMk/>
            <pc:sldMk cId="3617881301" sldId="2147374942"/>
            <ac:graphicFrameMk id="7" creationId="{EEB914D4-4379-B8E8-388D-E30183D0FB48}"/>
          </ac:graphicFrameMkLst>
        </pc:graphicFrameChg>
      </pc:sldChg>
      <pc:sldChg chg="del">
        <pc:chgData name="Mikail" userId="93f6f14b-3739-43d9-80c6-db9fb3c3df09" providerId="ADAL" clId="{C6CDAD12-3D25-4E68-BD8D-E3B1633E0C35}" dt="2023-05-09T13:46:15.033" v="2" actId="47"/>
        <pc:sldMkLst>
          <pc:docMk/>
          <pc:sldMk cId="1324220770" sldId="2147374943"/>
        </pc:sldMkLst>
      </pc:sldChg>
      <pc:sldChg chg="modSp add mod">
        <pc:chgData name="Mikail" userId="93f6f14b-3739-43d9-80c6-db9fb3c3df09" providerId="ADAL" clId="{C6CDAD12-3D25-4E68-BD8D-E3B1633E0C35}" dt="2023-05-09T14:09:30.162" v="426"/>
        <pc:sldMkLst>
          <pc:docMk/>
          <pc:sldMk cId="3597865427" sldId="2147374943"/>
        </pc:sldMkLst>
        <pc:spChg chg="mod">
          <ac:chgData name="Mikail" userId="93f6f14b-3739-43d9-80c6-db9fb3c3df09" providerId="ADAL" clId="{C6CDAD12-3D25-4E68-BD8D-E3B1633E0C35}" dt="2023-05-09T14:09:30.162" v="426"/>
          <ac:spMkLst>
            <pc:docMk/>
            <pc:sldMk cId="3597865427" sldId="2147374943"/>
            <ac:spMk id="4" creationId="{0BEE889D-F89C-156B-F705-122C223E8C25}"/>
          </ac:spMkLst>
        </pc:spChg>
        <pc:graphicFrameChg chg="mod modGraphic">
          <ac:chgData name="Mikail" userId="93f6f14b-3739-43d9-80c6-db9fb3c3df09" providerId="ADAL" clId="{C6CDAD12-3D25-4E68-BD8D-E3B1633E0C35}" dt="2023-05-09T14:07:44.067" v="395" actId="12"/>
          <ac:graphicFrameMkLst>
            <pc:docMk/>
            <pc:sldMk cId="3597865427" sldId="2147374943"/>
            <ac:graphicFrameMk id="7" creationId="{EEB914D4-4379-B8E8-388D-E30183D0FB48}"/>
          </ac:graphicFrameMkLst>
        </pc:graphicFrameChg>
      </pc:sldChg>
      <pc:sldChg chg="del">
        <pc:chgData name="Mikail" userId="93f6f14b-3739-43d9-80c6-db9fb3c3df09" providerId="ADAL" clId="{C6CDAD12-3D25-4E68-BD8D-E3B1633E0C35}" dt="2023-05-09T13:46:15.033" v="2" actId="47"/>
        <pc:sldMkLst>
          <pc:docMk/>
          <pc:sldMk cId="1072443628" sldId="2147374944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2320715546" sldId="2147374945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3609600770" sldId="2147374946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446548589" sldId="2147374947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2948528647" sldId="2147374953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2583365639" sldId="2147374954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1226756737" sldId="2147374956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1330221629" sldId="2147374957"/>
        </pc:sldMkLst>
      </pc:sldChg>
      <pc:sldChg chg="del">
        <pc:chgData name="Mikail" userId="93f6f14b-3739-43d9-80c6-db9fb3c3df09" providerId="ADAL" clId="{C6CDAD12-3D25-4E68-BD8D-E3B1633E0C35}" dt="2023-05-09T13:46:00.395" v="1" actId="47"/>
        <pc:sldMkLst>
          <pc:docMk/>
          <pc:sldMk cId="4266024056" sldId="2147374958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4260074020" sldId="2147374959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745758548" sldId="2147374960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3250589204" sldId="2147374961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746771796" sldId="2147374962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3085771445" sldId="2147374963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1828050853" sldId="2147374964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945581323" sldId="2147374965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310247354" sldId="2147374966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2421556922" sldId="2147374967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3740259386" sldId="2147374968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1049568320" sldId="2147374969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2492039298" sldId="2147374970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1862861199" sldId="2147374971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1792031847" sldId="2147374972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2883707569" sldId="2147374973"/>
        </pc:sldMkLst>
      </pc:sldChg>
      <pc:sldChg chg="del">
        <pc:chgData name="Mikail" userId="93f6f14b-3739-43d9-80c6-db9fb3c3df09" providerId="ADAL" clId="{C6CDAD12-3D25-4E68-BD8D-E3B1633E0C35}" dt="2023-05-09T13:45:53.212" v="0" actId="47"/>
        <pc:sldMkLst>
          <pc:docMk/>
          <pc:sldMk cId="2357209063" sldId="2147374974"/>
        </pc:sldMkLst>
      </pc:sldChg>
      <pc:sldMasterChg chg="delSldLayout">
        <pc:chgData name="Mikail" userId="93f6f14b-3739-43d9-80c6-db9fb3c3df09" providerId="ADAL" clId="{C6CDAD12-3D25-4E68-BD8D-E3B1633E0C35}" dt="2023-05-09T13:46:15.033" v="2" actId="47"/>
        <pc:sldMasterMkLst>
          <pc:docMk/>
          <pc:sldMasterMk cId="2274125543" sldId="2147483672"/>
        </pc:sldMasterMkLst>
        <pc:sldLayoutChg chg="del">
          <pc:chgData name="Mikail" userId="93f6f14b-3739-43d9-80c6-db9fb3c3df09" providerId="ADAL" clId="{C6CDAD12-3D25-4E68-BD8D-E3B1633E0C35}" dt="2023-05-09T13:45:53.212" v="0" actId="47"/>
          <pc:sldLayoutMkLst>
            <pc:docMk/>
            <pc:sldMasterMk cId="2274125543" sldId="2147483672"/>
            <pc:sldLayoutMk cId="2438819799" sldId="2147483752"/>
          </pc:sldLayoutMkLst>
        </pc:sldLayoutChg>
        <pc:sldLayoutChg chg="del">
          <pc:chgData name="Mikail" userId="93f6f14b-3739-43d9-80c6-db9fb3c3df09" providerId="ADAL" clId="{C6CDAD12-3D25-4E68-BD8D-E3B1633E0C35}" dt="2023-05-09T13:45:53.212" v="0" actId="47"/>
          <pc:sldLayoutMkLst>
            <pc:docMk/>
            <pc:sldMasterMk cId="2274125543" sldId="2147483672"/>
            <pc:sldLayoutMk cId="1298965899" sldId="2147483754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2274125543" sldId="2147483672"/>
            <pc:sldLayoutMk cId="3789152275" sldId="2147483939"/>
          </pc:sldLayoutMkLst>
        </pc:sldLayoutChg>
        <pc:sldLayoutChg chg="del">
          <pc:chgData name="Mikail" userId="93f6f14b-3739-43d9-80c6-db9fb3c3df09" providerId="ADAL" clId="{C6CDAD12-3D25-4E68-BD8D-E3B1633E0C35}" dt="2023-05-09T13:46:15.033" v="2" actId="47"/>
          <pc:sldLayoutMkLst>
            <pc:docMk/>
            <pc:sldMasterMk cId="2274125543" sldId="2147483672"/>
            <pc:sldLayoutMk cId="3398899917" sldId="2147483941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2274125543" sldId="2147483672"/>
            <pc:sldLayoutMk cId="2686177459" sldId="2147483942"/>
          </pc:sldLayoutMkLst>
        </pc:sldLayoutChg>
      </pc:sldMasterChg>
      <pc:sldMasterChg chg="del delSldLayout">
        <pc:chgData name="Mikail" userId="93f6f14b-3739-43d9-80c6-db9fb3c3df09" providerId="ADAL" clId="{C6CDAD12-3D25-4E68-BD8D-E3B1633E0C35}" dt="2023-05-09T13:45:53.212" v="0" actId="47"/>
        <pc:sldMasterMkLst>
          <pc:docMk/>
          <pc:sldMasterMk cId="109832063" sldId="2147483722"/>
        </pc:sldMasterMkLst>
        <pc:sldLayoutChg chg="del">
          <pc:chgData name="Mikail" userId="93f6f14b-3739-43d9-80c6-db9fb3c3df09" providerId="ADAL" clId="{C6CDAD12-3D25-4E68-BD8D-E3B1633E0C35}" dt="2023-05-09T13:45:53.212" v="0" actId="47"/>
          <pc:sldLayoutMkLst>
            <pc:docMk/>
            <pc:sldMasterMk cId="109832063" sldId="2147483722"/>
            <pc:sldLayoutMk cId="2407439035" sldId="2147483723"/>
          </pc:sldLayoutMkLst>
        </pc:sldLayoutChg>
        <pc:sldLayoutChg chg="del">
          <pc:chgData name="Mikail" userId="93f6f14b-3739-43d9-80c6-db9fb3c3df09" providerId="ADAL" clId="{C6CDAD12-3D25-4E68-BD8D-E3B1633E0C35}" dt="2023-05-09T13:45:53.212" v="0" actId="47"/>
          <pc:sldLayoutMkLst>
            <pc:docMk/>
            <pc:sldMasterMk cId="109832063" sldId="2147483722"/>
            <pc:sldLayoutMk cId="3618225013" sldId="2147483724"/>
          </pc:sldLayoutMkLst>
        </pc:sldLayoutChg>
        <pc:sldLayoutChg chg="del">
          <pc:chgData name="Mikail" userId="93f6f14b-3739-43d9-80c6-db9fb3c3df09" providerId="ADAL" clId="{C6CDAD12-3D25-4E68-BD8D-E3B1633E0C35}" dt="2023-05-09T13:45:53.212" v="0" actId="47"/>
          <pc:sldLayoutMkLst>
            <pc:docMk/>
            <pc:sldMasterMk cId="109832063" sldId="2147483722"/>
            <pc:sldLayoutMk cId="4258769550" sldId="2147483725"/>
          </pc:sldLayoutMkLst>
        </pc:sldLayoutChg>
        <pc:sldLayoutChg chg="del">
          <pc:chgData name="Mikail" userId="93f6f14b-3739-43d9-80c6-db9fb3c3df09" providerId="ADAL" clId="{C6CDAD12-3D25-4E68-BD8D-E3B1633E0C35}" dt="2023-05-09T13:45:53.212" v="0" actId="47"/>
          <pc:sldLayoutMkLst>
            <pc:docMk/>
            <pc:sldMasterMk cId="109832063" sldId="2147483722"/>
            <pc:sldLayoutMk cId="1993152277" sldId="2147483726"/>
          </pc:sldLayoutMkLst>
        </pc:sldLayoutChg>
        <pc:sldLayoutChg chg="del">
          <pc:chgData name="Mikail" userId="93f6f14b-3739-43d9-80c6-db9fb3c3df09" providerId="ADAL" clId="{C6CDAD12-3D25-4E68-BD8D-E3B1633E0C35}" dt="2023-05-09T13:45:53.212" v="0" actId="47"/>
          <pc:sldLayoutMkLst>
            <pc:docMk/>
            <pc:sldMasterMk cId="109832063" sldId="2147483722"/>
            <pc:sldLayoutMk cId="2208596047" sldId="2147483727"/>
          </pc:sldLayoutMkLst>
        </pc:sldLayoutChg>
        <pc:sldLayoutChg chg="del">
          <pc:chgData name="Mikail" userId="93f6f14b-3739-43d9-80c6-db9fb3c3df09" providerId="ADAL" clId="{C6CDAD12-3D25-4E68-BD8D-E3B1633E0C35}" dt="2023-05-09T13:45:53.212" v="0" actId="47"/>
          <pc:sldLayoutMkLst>
            <pc:docMk/>
            <pc:sldMasterMk cId="109832063" sldId="2147483722"/>
            <pc:sldLayoutMk cId="2632813757" sldId="2147483728"/>
          </pc:sldLayoutMkLst>
        </pc:sldLayoutChg>
        <pc:sldLayoutChg chg="del">
          <pc:chgData name="Mikail" userId="93f6f14b-3739-43d9-80c6-db9fb3c3df09" providerId="ADAL" clId="{C6CDAD12-3D25-4E68-BD8D-E3B1633E0C35}" dt="2023-05-09T13:45:53.212" v="0" actId="47"/>
          <pc:sldLayoutMkLst>
            <pc:docMk/>
            <pc:sldMasterMk cId="109832063" sldId="2147483722"/>
            <pc:sldLayoutMk cId="2420460400" sldId="2147483729"/>
          </pc:sldLayoutMkLst>
        </pc:sldLayoutChg>
        <pc:sldLayoutChg chg="del">
          <pc:chgData name="Mikail" userId="93f6f14b-3739-43d9-80c6-db9fb3c3df09" providerId="ADAL" clId="{C6CDAD12-3D25-4E68-BD8D-E3B1633E0C35}" dt="2023-05-09T13:45:53.212" v="0" actId="47"/>
          <pc:sldLayoutMkLst>
            <pc:docMk/>
            <pc:sldMasterMk cId="109832063" sldId="2147483722"/>
            <pc:sldLayoutMk cId="1572568096" sldId="2147483730"/>
          </pc:sldLayoutMkLst>
        </pc:sldLayoutChg>
        <pc:sldLayoutChg chg="del">
          <pc:chgData name="Mikail" userId="93f6f14b-3739-43d9-80c6-db9fb3c3df09" providerId="ADAL" clId="{C6CDAD12-3D25-4E68-BD8D-E3B1633E0C35}" dt="2023-05-09T13:45:53.212" v="0" actId="47"/>
          <pc:sldLayoutMkLst>
            <pc:docMk/>
            <pc:sldMasterMk cId="109832063" sldId="2147483722"/>
            <pc:sldLayoutMk cId="74519785" sldId="2147483731"/>
          </pc:sldLayoutMkLst>
        </pc:sldLayoutChg>
        <pc:sldLayoutChg chg="del">
          <pc:chgData name="Mikail" userId="93f6f14b-3739-43d9-80c6-db9fb3c3df09" providerId="ADAL" clId="{C6CDAD12-3D25-4E68-BD8D-E3B1633E0C35}" dt="2023-05-09T13:45:53.212" v="0" actId="47"/>
          <pc:sldLayoutMkLst>
            <pc:docMk/>
            <pc:sldMasterMk cId="109832063" sldId="2147483722"/>
            <pc:sldLayoutMk cId="4260862077" sldId="2147483732"/>
          </pc:sldLayoutMkLst>
        </pc:sldLayoutChg>
        <pc:sldLayoutChg chg="del">
          <pc:chgData name="Mikail" userId="93f6f14b-3739-43d9-80c6-db9fb3c3df09" providerId="ADAL" clId="{C6CDAD12-3D25-4E68-BD8D-E3B1633E0C35}" dt="2023-05-09T13:45:53.212" v="0" actId="47"/>
          <pc:sldLayoutMkLst>
            <pc:docMk/>
            <pc:sldMasterMk cId="109832063" sldId="2147483722"/>
            <pc:sldLayoutMk cId="4197562322" sldId="2147483735"/>
          </pc:sldLayoutMkLst>
        </pc:sldLayoutChg>
        <pc:sldLayoutChg chg="del">
          <pc:chgData name="Mikail" userId="93f6f14b-3739-43d9-80c6-db9fb3c3df09" providerId="ADAL" clId="{C6CDAD12-3D25-4E68-BD8D-E3B1633E0C35}" dt="2023-05-09T13:45:53.212" v="0" actId="47"/>
          <pc:sldLayoutMkLst>
            <pc:docMk/>
            <pc:sldMasterMk cId="109832063" sldId="2147483722"/>
            <pc:sldLayoutMk cId="4232702508" sldId="2147483736"/>
          </pc:sldLayoutMkLst>
        </pc:sldLayoutChg>
      </pc:sldMasterChg>
      <pc:sldMasterChg chg="del delSldLayout">
        <pc:chgData name="Mikail" userId="93f6f14b-3739-43d9-80c6-db9fb3c3df09" providerId="ADAL" clId="{C6CDAD12-3D25-4E68-BD8D-E3B1633E0C35}" dt="2023-05-09T13:46:00.395" v="1" actId="47"/>
        <pc:sldMasterMkLst>
          <pc:docMk/>
          <pc:sldMasterMk cId="3469924111" sldId="2147483755"/>
        </pc:sldMasterMkLst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469924111" sldId="2147483755"/>
            <pc:sldLayoutMk cId="590203465" sldId="2147483756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469924111" sldId="2147483755"/>
            <pc:sldLayoutMk cId="3177169048" sldId="2147483757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469924111" sldId="2147483755"/>
            <pc:sldLayoutMk cId="3580041433" sldId="2147483758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469924111" sldId="2147483755"/>
            <pc:sldLayoutMk cId="1158167445" sldId="2147483759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469924111" sldId="2147483755"/>
            <pc:sldLayoutMk cId="2584656123" sldId="2147483760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469924111" sldId="2147483755"/>
            <pc:sldLayoutMk cId="2326728826" sldId="2147483761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469924111" sldId="2147483755"/>
            <pc:sldLayoutMk cId="1784242234" sldId="2147483762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469924111" sldId="2147483755"/>
            <pc:sldLayoutMk cId="3147056063" sldId="2147483763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469924111" sldId="2147483755"/>
            <pc:sldLayoutMk cId="1655824567" sldId="2147483764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469924111" sldId="2147483755"/>
            <pc:sldLayoutMk cId="99161387" sldId="2147483765"/>
          </pc:sldLayoutMkLst>
        </pc:sldLayoutChg>
      </pc:sldMasterChg>
      <pc:sldMasterChg chg="del delSldLayout">
        <pc:chgData name="Mikail" userId="93f6f14b-3739-43d9-80c6-db9fb3c3df09" providerId="ADAL" clId="{C6CDAD12-3D25-4E68-BD8D-E3B1633E0C35}" dt="2023-05-09T13:46:00.395" v="1" actId="47"/>
        <pc:sldMasterMkLst>
          <pc:docMk/>
          <pc:sldMasterMk cId="3816777557" sldId="2147483781"/>
        </pc:sldMasterMkLst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816777557" sldId="2147483781"/>
            <pc:sldLayoutMk cId="1383814219" sldId="2147483782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816777557" sldId="2147483781"/>
            <pc:sldLayoutMk cId="1765019514" sldId="2147483783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816777557" sldId="2147483781"/>
            <pc:sldLayoutMk cId="1194909786" sldId="2147483784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816777557" sldId="2147483781"/>
            <pc:sldLayoutMk cId="2520864707" sldId="2147483785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816777557" sldId="2147483781"/>
            <pc:sldLayoutMk cId="3573798247" sldId="2147483786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816777557" sldId="2147483781"/>
            <pc:sldLayoutMk cId="2525809495" sldId="2147483787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816777557" sldId="2147483781"/>
            <pc:sldLayoutMk cId="3097106313" sldId="2147483788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816777557" sldId="2147483781"/>
            <pc:sldLayoutMk cId="1100540769" sldId="2147483789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816777557" sldId="2147483781"/>
            <pc:sldLayoutMk cId="2743819876" sldId="2147483790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816777557" sldId="2147483781"/>
            <pc:sldLayoutMk cId="1233629903" sldId="2147483791"/>
          </pc:sldLayoutMkLst>
        </pc:sldLayoutChg>
      </pc:sldMasterChg>
      <pc:sldMasterChg chg="del delSldLayout">
        <pc:chgData name="Mikail" userId="93f6f14b-3739-43d9-80c6-db9fb3c3df09" providerId="ADAL" clId="{C6CDAD12-3D25-4E68-BD8D-E3B1633E0C35}" dt="2023-05-09T13:46:00.395" v="1" actId="47"/>
        <pc:sldMasterMkLst>
          <pc:docMk/>
          <pc:sldMasterMk cId="4101334950" sldId="2147483793"/>
        </pc:sldMasterMkLst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4101334950" sldId="2147483793"/>
            <pc:sldLayoutMk cId="3300041400" sldId="2147483794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4101334950" sldId="2147483793"/>
            <pc:sldLayoutMk cId="199433685" sldId="2147483795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4101334950" sldId="2147483793"/>
            <pc:sldLayoutMk cId="697807474" sldId="2147483796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4101334950" sldId="2147483793"/>
            <pc:sldLayoutMk cId="4118717717" sldId="2147483797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4101334950" sldId="2147483793"/>
            <pc:sldLayoutMk cId="2959510401" sldId="2147483798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4101334950" sldId="2147483793"/>
            <pc:sldLayoutMk cId="2024831243" sldId="2147483799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4101334950" sldId="2147483793"/>
            <pc:sldLayoutMk cId="333513410" sldId="2147483800"/>
          </pc:sldLayoutMkLst>
        </pc:sldLayoutChg>
      </pc:sldMasterChg>
      <pc:sldMasterChg chg="del delSldLayout">
        <pc:chgData name="Mikail" userId="93f6f14b-3739-43d9-80c6-db9fb3c3df09" providerId="ADAL" clId="{C6CDAD12-3D25-4E68-BD8D-E3B1633E0C35}" dt="2023-05-09T13:46:00.395" v="1" actId="47"/>
        <pc:sldMasterMkLst>
          <pc:docMk/>
          <pc:sldMasterMk cId="3901591170" sldId="2147483828"/>
        </pc:sldMasterMkLst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901591170" sldId="2147483828"/>
            <pc:sldLayoutMk cId="729781674" sldId="2147483829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901591170" sldId="2147483828"/>
            <pc:sldLayoutMk cId="783904277" sldId="2147483830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901591170" sldId="2147483828"/>
            <pc:sldLayoutMk cId="2463826940" sldId="2147483831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901591170" sldId="2147483828"/>
            <pc:sldLayoutMk cId="3249205497" sldId="2147483832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901591170" sldId="2147483828"/>
            <pc:sldLayoutMk cId="2204545869" sldId="2147483833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3901591170" sldId="2147483828"/>
            <pc:sldLayoutMk cId="892921140" sldId="2147483834"/>
          </pc:sldLayoutMkLst>
        </pc:sldLayoutChg>
      </pc:sldMasterChg>
      <pc:sldMasterChg chg="del delSldLayout">
        <pc:chgData name="Mikail" userId="93f6f14b-3739-43d9-80c6-db9fb3c3df09" providerId="ADAL" clId="{C6CDAD12-3D25-4E68-BD8D-E3B1633E0C35}" dt="2023-05-09T13:46:00.395" v="1" actId="47"/>
        <pc:sldMasterMkLst>
          <pc:docMk/>
          <pc:sldMasterMk cId="1779412371" sldId="2147483835"/>
        </pc:sldMasterMkLst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1779412371" sldId="2147483835"/>
            <pc:sldLayoutMk cId="1156978238" sldId="2147483836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1779412371" sldId="2147483835"/>
            <pc:sldLayoutMk cId="2057147588" sldId="2147483837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1779412371" sldId="2147483835"/>
            <pc:sldLayoutMk cId="2657157419" sldId="2147483838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1779412371" sldId="2147483835"/>
            <pc:sldLayoutMk cId="4028249816" sldId="2147483839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1779412371" sldId="2147483835"/>
            <pc:sldLayoutMk cId="2187802502" sldId="2147483840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1779412371" sldId="2147483835"/>
            <pc:sldLayoutMk cId="1476732414" sldId="2147483841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1779412371" sldId="2147483835"/>
            <pc:sldLayoutMk cId="264837291" sldId="2147483842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1779412371" sldId="2147483835"/>
            <pc:sldLayoutMk cId="2922271222" sldId="2147483843"/>
          </pc:sldLayoutMkLst>
        </pc:sldLayoutChg>
        <pc:sldLayoutChg chg="del">
          <pc:chgData name="Mikail" userId="93f6f14b-3739-43d9-80c6-db9fb3c3df09" providerId="ADAL" clId="{C6CDAD12-3D25-4E68-BD8D-E3B1633E0C35}" dt="2023-05-09T13:46:00.395" v="1" actId="47"/>
          <pc:sldLayoutMkLst>
            <pc:docMk/>
            <pc:sldMasterMk cId="1779412371" sldId="2147483835"/>
            <pc:sldLayoutMk cId="3019037074" sldId="2147483938"/>
          </pc:sldLayoutMkLst>
        </pc:sldLayoutChg>
      </pc:sldMasterChg>
      <pc:sldMasterChg chg="delSldLayout">
        <pc:chgData name="Mikail" userId="93f6f14b-3739-43d9-80c6-db9fb3c3df09" providerId="ADAL" clId="{C6CDAD12-3D25-4E68-BD8D-E3B1633E0C35}" dt="2023-05-09T13:45:53.212" v="0" actId="47"/>
        <pc:sldMasterMkLst>
          <pc:docMk/>
          <pc:sldMasterMk cId="335855276" sldId="2147483888"/>
        </pc:sldMasterMkLst>
        <pc:sldLayoutChg chg="del">
          <pc:chgData name="Mikail" userId="93f6f14b-3739-43d9-80c6-db9fb3c3df09" providerId="ADAL" clId="{C6CDAD12-3D25-4E68-BD8D-E3B1633E0C35}" dt="2023-05-09T13:45:53.212" v="0" actId="47"/>
          <pc:sldLayoutMkLst>
            <pc:docMk/>
            <pc:sldMasterMk cId="335855276" sldId="2147483888"/>
            <pc:sldLayoutMk cId="1742964811" sldId="2147483944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FD26062-7206-42FE-A191-BB5A3F24A2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410131-BC1B-4C83-BAA0-CD13BC2812C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E9E0EE-1DCB-4F30-B077-464F007E46A9}" type="datetimeFigureOut">
              <a:rPr lang="en-GB" smtClean="0"/>
              <a:t>09/05/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B17F80-520F-4F97-9BFD-F218B23CB8E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D9C2C7-6FAF-40EA-AAF4-3EFD6C389A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FBB4C9-A071-41E4-892E-F03D70EA8B8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61256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CE7D0A-618D-469D-A0F6-7E10C3D47CE6}" type="datetimeFigureOut">
              <a:rPr lang="en-GB" smtClean="0"/>
              <a:t>09/05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43C31-A911-4174-806B-8AA6C10B71F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16444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25.png"/><Relationship Id="rId5" Type="http://schemas.openxmlformats.org/officeDocument/2006/relationships/image" Target="../media/image24.jpeg"/><Relationship Id="rId4" Type="http://schemas.openxmlformats.org/officeDocument/2006/relationships/image" Target="../media/image2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image" Target="../media/image24.jpeg"/><Relationship Id="rId4" Type="http://schemas.openxmlformats.org/officeDocument/2006/relationships/image" Target="../media/image2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5" Type="http://schemas.openxmlformats.org/officeDocument/2006/relationships/image" Target="../media/image26.png"/><Relationship Id="rId4" Type="http://schemas.openxmlformats.org/officeDocument/2006/relationships/image" Target="../media/image2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27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6" Type="http://schemas.openxmlformats.org/officeDocument/2006/relationships/image" Target="../media/image29.emf"/><Relationship Id="rId5" Type="http://schemas.openxmlformats.org/officeDocument/2006/relationships/image" Target="../media/image28.jpeg"/><Relationship Id="rId4" Type="http://schemas.openxmlformats.org/officeDocument/2006/relationships/image" Target="../media/image27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27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27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5" Type="http://schemas.openxmlformats.org/officeDocument/2006/relationships/image" Target="../media/image30.jpeg"/><Relationship Id="rId4" Type="http://schemas.openxmlformats.org/officeDocument/2006/relationships/image" Target="../media/image27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5" Type="http://schemas.openxmlformats.org/officeDocument/2006/relationships/image" Target="../media/image31.jpeg"/><Relationship Id="rId4" Type="http://schemas.openxmlformats.org/officeDocument/2006/relationships/image" Target="../media/image27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5" Type="http://schemas.openxmlformats.org/officeDocument/2006/relationships/image" Target="../media/image32.jpeg"/><Relationship Id="rId4" Type="http://schemas.openxmlformats.org/officeDocument/2006/relationships/image" Target="../media/image27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5" Type="http://schemas.openxmlformats.org/officeDocument/2006/relationships/image" Target="../media/image33.jpeg"/><Relationship Id="rId4" Type="http://schemas.openxmlformats.org/officeDocument/2006/relationships/image" Target="../media/image27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27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5" Type="http://schemas.openxmlformats.org/officeDocument/2006/relationships/image" Target="../media/image34.jpeg"/><Relationship Id="rId4" Type="http://schemas.openxmlformats.org/officeDocument/2006/relationships/image" Target="../media/image2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6" Type="http://schemas.openxmlformats.org/officeDocument/2006/relationships/image" Target="../media/image29.emf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0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4.xml"/><Relationship Id="rId6" Type="http://schemas.openxmlformats.org/officeDocument/2006/relationships/image" Target="../media/image25.png"/><Relationship Id="rId5" Type="http://schemas.openxmlformats.org/officeDocument/2006/relationships/image" Target="../media/image24.jpeg"/><Relationship Id="rId4" Type="http://schemas.openxmlformats.org/officeDocument/2006/relationships/image" Target="../media/image23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5.xml"/><Relationship Id="rId5" Type="http://schemas.openxmlformats.org/officeDocument/2006/relationships/image" Target="../media/image24.jpeg"/><Relationship Id="rId4" Type="http://schemas.openxmlformats.org/officeDocument/2006/relationships/image" Target="../media/image23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6.xml"/><Relationship Id="rId5" Type="http://schemas.openxmlformats.org/officeDocument/2006/relationships/image" Target="../media/image26.png"/><Relationship Id="rId4" Type="http://schemas.openxmlformats.org/officeDocument/2006/relationships/image" Target="../media/image23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7.xml"/><Relationship Id="rId4" Type="http://schemas.openxmlformats.org/officeDocument/2006/relationships/image" Target="../media/image27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8.xml"/><Relationship Id="rId6" Type="http://schemas.openxmlformats.org/officeDocument/2006/relationships/image" Target="../media/image29.emf"/><Relationship Id="rId5" Type="http://schemas.openxmlformats.org/officeDocument/2006/relationships/image" Target="../media/image28.jpeg"/><Relationship Id="rId4" Type="http://schemas.openxmlformats.org/officeDocument/2006/relationships/image" Target="../media/image27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9.xml"/><Relationship Id="rId4" Type="http://schemas.openxmlformats.org/officeDocument/2006/relationships/image" Target="../media/image27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0.xml"/><Relationship Id="rId4" Type="http://schemas.openxmlformats.org/officeDocument/2006/relationships/image" Target="../media/image27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1.xml"/><Relationship Id="rId5" Type="http://schemas.openxmlformats.org/officeDocument/2006/relationships/image" Target="../media/image30.jpeg"/><Relationship Id="rId4" Type="http://schemas.openxmlformats.org/officeDocument/2006/relationships/image" Target="../media/image27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2.xml"/><Relationship Id="rId5" Type="http://schemas.openxmlformats.org/officeDocument/2006/relationships/image" Target="../media/image31.jpeg"/><Relationship Id="rId4" Type="http://schemas.openxmlformats.org/officeDocument/2006/relationships/image" Target="../media/image27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3.xml"/><Relationship Id="rId5" Type="http://schemas.openxmlformats.org/officeDocument/2006/relationships/image" Target="../media/image32.jpeg"/><Relationship Id="rId4" Type="http://schemas.openxmlformats.org/officeDocument/2006/relationships/image" Target="../media/image27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4.xml"/><Relationship Id="rId5" Type="http://schemas.openxmlformats.org/officeDocument/2006/relationships/image" Target="../media/image33.jpeg"/><Relationship Id="rId4" Type="http://schemas.openxmlformats.org/officeDocument/2006/relationships/image" Target="../media/image27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5.xml"/><Relationship Id="rId4" Type="http://schemas.openxmlformats.org/officeDocument/2006/relationships/image" Target="../media/image27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6.xml"/><Relationship Id="rId5" Type="http://schemas.openxmlformats.org/officeDocument/2006/relationships/image" Target="../media/image34.jpeg"/><Relationship Id="rId4" Type="http://schemas.openxmlformats.org/officeDocument/2006/relationships/image" Target="../media/image23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7.xml"/><Relationship Id="rId6" Type="http://schemas.openxmlformats.org/officeDocument/2006/relationships/image" Target="../media/image29.emf"/><Relationship Id="rId5" Type="http://schemas.openxmlformats.org/officeDocument/2006/relationships/image" Target="../media/image27.emf"/><Relationship Id="rId4" Type="http://schemas.openxmlformats.org/officeDocument/2006/relationships/oleObject" Target="../embeddings/oleObject3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4.xml"/><Relationship Id="rId6" Type="http://schemas.openxmlformats.org/officeDocument/2006/relationships/image" Target="../media/image25.png"/><Relationship Id="rId5" Type="http://schemas.openxmlformats.org/officeDocument/2006/relationships/image" Target="../media/image24.jpeg"/><Relationship Id="rId4" Type="http://schemas.openxmlformats.org/officeDocument/2006/relationships/image" Target="../media/image23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5.xml"/><Relationship Id="rId5" Type="http://schemas.openxmlformats.org/officeDocument/2006/relationships/image" Target="../media/image24.jpeg"/><Relationship Id="rId4" Type="http://schemas.openxmlformats.org/officeDocument/2006/relationships/image" Target="../media/image23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6.xml"/><Relationship Id="rId5" Type="http://schemas.openxmlformats.org/officeDocument/2006/relationships/image" Target="../media/image26.png"/><Relationship Id="rId4" Type="http://schemas.openxmlformats.org/officeDocument/2006/relationships/image" Target="../media/image23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7.xml"/><Relationship Id="rId4" Type="http://schemas.openxmlformats.org/officeDocument/2006/relationships/image" Target="../media/image27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8.xml"/><Relationship Id="rId6" Type="http://schemas.openxmlformats.org/officeDocument/2006/relationships/image" Target="../media/image29.emf"/><Relationship Id="rId5" Type="http://schemas.openxmlformats.org/officeDocument/2006/relationships/image" Target="../media/image28.jpeg"/><Relationship Id="rId4" Type="http://schemas.openxmlformats.org/officeDocument/2006/relationships/image" Target="../media/image27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9.xml"/><Relationship Id="rId4" Type="http://schemas.openxmlformats.org/officeDocument/2006/relationships/image" Target="../media/image27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0.xml"/><Relationship Id="rId4" Type="http://schemas.openxmlformats.org/officeDocument/2006/relationships/image" Target="../media/image27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1.xml"/><Relationship Id="rId5" Type="http://schemas.openxmlformats.org/officeDocument/2006/relationships/image" Target="../media/image30.jpeg"/><Relationship Id="rId4" Type="http://schemas.openxmlformats.org/officeDocument/2006/relationships/image" Target="../media/image27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2.xml"/><Relationship Id="rId5" Type="http://schemas.openxmlformats.org/officeDocument/2006/relationships/image" Target="../media/image31.jpeg"/><Relationship Id="rId4" Type="http://schemas.openxmlformats.org/officeDocument/2006/relationships/image" Target="../media/image27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3.xml"/><Relationship Id="rId5" Type="http://schemas.openxmlformats.org/officeDocument/2006/relationships/image" Target="../media/image32.jpeg"/><Relationship Id="rId4" Type="http://schemas.openxmlformats.org/officeDocument/2006/relationships/image" Target="../media/image27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4.xml"/><Relationship Id="rId5" Type="http://schemas.openxmlformats.org/officeDocument/2006/relationships/image" Target="../media/image33.jpeg"/><Relationship Id="rId4" Type="http://schemas.openxmlformats.org/officeDocument/2006/relationships/image" Target="../media/image27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5.xml"/><Relationship Id="rId4" Type="http://schemas.openxmlformats.org/officeDocument/2006/relationships/image" Target="../media/image27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6.xml"/><Relationship Id="rId5" Type="http://schemas.openxmlformats.org/officeDocument/2006/relationships/image" Target="../media/image34.jpeg"/><Relationship Id="rId4" Type="http://schemas.openxmlformats.org/officeDocument/2006/relationships/image" Target="../media/image23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7.xml"/><Relationship Id="rId6" Type="http://schemas.openxmlformats.org/officeDocument/2006/relationships/image" Target="../media/image29.emf"/><Relationship Id="rId5" Type="http://schemas.openxmlformats.org/officeDocument/2006/relationships/image" Target="../media/image27.emf"/><Relationship Id="rId4" Type="http://schemas.openxmlformats.org/officeDocument/2006/relationships/oleObject" Target="../embeddings/oleObject51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8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9311433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CONTENTS SLIDE</a:t>
            </a:r>
            <a:endParaRPr lang="en-ZA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EDA1C25F-7D43-4095-A0B8-45700D5B151C}"/>
              </a:ext>
            </a:extLst>
          </p:cNvPr>
          <p:cNvSpPr/>
          <p:nvPr userDrawn="1"/>
        </p:nvSpPr>
        <p:spPr>
          <a:xfrm>
            <a:off x="8499929" y="4854262"/>
            <a:ext cx="3250324" cy="1694430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6" y="2085874"/>
            <a:ext cx="3329183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400" dirty="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800" dirty="0"/>
              <a:t>Normal text here and here and here and here</a:t>
            </a:r>
            <a:endParaRPr lang="en-GB" sz="24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DE8A4C4-F89C-4196-9B13-39D203050D5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1367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7857212"/>
              </p:ext>
            </p:ext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 userDrawn="1"/>
        </p:nvSpPr>
        <p:spPr>
          <a:xfrm>
            <a:off x="2771428" y="6355873"/>
            <a:ext cx="8881437" cy="382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03"/>
            <a:r>
              <a:rPr lang="en-US" sz="918" dirty="0">
                <a:latin typeface="Segoe UI" panose="020B0502040204020203" pitchFamily="34" charset="0"/>
                <a:sym typeface="Segoe UI" panose="020B0502040204020203" pitchFamily="34" charset="0"/>
              </a:rPr>
              <a:t>CONFIDENTIAL AND PROPRIETARY </a:t>
            </a:r>
            <a:br>
              <a:rPr lang="en-US" sz="918" dirty="0">
                <a:latin typeface="Segoe UI" panose="020B0502040204020203" pitchFamily="34" charset="0"/>
                <a:sym typeface="Segoe UI" panose="020B0502040204020203" pitchFamily="34" charset="0"/>
              </a:rPr>
            </a:br>
            <a:r>
              <a:rPr lang="en-US" sz="918" dirty="0">
                <a:latin typeface="Segoe UI" panose="020B0502040204020203" pitchFamily="34" charset="0"/>
                <a:sym typeface="Segoe UI" panose="020B0502040204020203" pitchFamily="34" charset="0"/>
              </a:rPr>
              <a:t>Any use of this material without the permission of Letsema is strictly prohibited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A888493-B9AD-4E71-9676-73CC59E471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53071" y="641525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53070" y="6540862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Last Modified 2017-01-31 05:58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53071" y="666647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2016-08-05 09:24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2" y="37257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28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9" y="6540990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5DEEE08-7C00-4ADC-8092-2248789EC7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038927" y="3329703"/>
            <a:ext cx="2241751" cy="30777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i="0">
                <a:solidFill>
                  <a:schemeClr val="bg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endParaRPr lang="en-ZA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1C9452F-1984-4FEE-885B-B747D56C624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89658" y="3238471"/>
            <a:ext cx="2857899" cy="381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2164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4267118"/>
              </p:ext>
            </p:ext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 userDrawn="1"/>
        </p:nvSpPr>
        <p:spPr>
          <a:xfrm>
            <a:off x="2771428" y="6355873"/>
            <a:ext cx="8881437" cy="382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03"/>
            <a:r>
              <a:rPr lang="en-US" sz="918" dirty="0">
                <a:latin typeface="Segoe UI" panose="020B0502040204020203" pitchFamily="34" charset="0"/>
                <a:sym typeface="Segoe UI" panose="020B0502040204020203" pitchFamily="34" charset="0"/>
              </a:rPr>
              <a:t>CONFIDENTIAL AND PROPRIETARY </a:t>
            </a:r>
            <a:br>
              <a:rPr lang="en-US" sz="918" dirty="0">
                <a:latin typeface="Segoe UI" panose="020B0502040204020203" pitchFamily="34" charset="0"/>
                <a:sym typeface="Segoe UI" panose="020B0502040204020203" pitchFamily="34" charset="0"/>
              </a:rPr>
            </a:br>
            <a:r>
              <a:rPr lang="en-US" sz="918" dirty="0">
                <a:latin typeface="Segoe UI" panose="020B0502040204020203" pitchFamily="34" charset="0"/>
                <a:sym typeface="Segoe UI" panose="020B0502040204020203" pitchFamily="34" charset="0"/>
              </a:rPr>
              <a:t>Any use of this material without the permission of Letsema is strictly prohibited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A888493-B9AD-4E71-9676-73CC59E471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53071" y="641525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53070" y="6540862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Last Modified 2017-01-31 05:58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53071" y="666647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2016-08-05 09:24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2" y="37257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28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9" y="6540990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3034059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6765937"/>
              </p:ext>
            </p:ext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53071" y="641525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53070" y="6540862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Last Modified 2017-01-31 05:58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53071" y="666647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2016-08-05 09:24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2" y="37257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28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9" y="6540990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82E0F37-3C65-4C18-A05F-E6884FED6CC8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32346" y="6586417"/>
            <a:ext cx="129844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16" baseline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6922CA3-BBC2-4E1D-B1D1-FAAD72080EEA}"/>
              </a:ext>
            </a:extLst>
          </p:cNvPr>
          <p:cNvSpPr/>
          <p:nvPr userDrawn="1"/>
        </p:nvSpPr>
        <p:spPr>
          <a:xfrm>
            <a:off x="2" y="0"/>
            <a:ext cx="6629396" cy="6858000"/>
          </a:xfrm>
          <a:prstGeom prst="rect">
            <a:avLst/>
          </a:prstGeom>
          <a:solidFill>
            <a:schemeClr val="accent3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428" b="1" dirty="0">
              <a:solidFill>
                <a:schemeClr val="bg1"/>
              </a:solidFill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0729FAD-589F-406C-AD34-99A5E40CA7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567" y="2315156"/>
            <a:ext cx="4596343" cy="2512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32" i="0">
                <a:solidFill>
                  <a:schemeClr val="accent3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endParaRPr lang="en-ZA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88C14C44-3BCC-4CAC-95BA-93F4D02217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567" y="1287157"/>
            <a:ext cx="2856678" cy="376834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2449" i="0">
                <a:solidFill>
                  <a:schemeClr val="accent6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add</a:t>
            </a:r>
            <a:endParaRPr lang="en-ZA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5CB3CA-0D7B-4B3F-9A21-4D84F8F944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 rot="10800000" flipH="1">
            <a:off x="8851392" y="3242"/>
            <a:ext cx="3343578" cy="5474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2181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8894903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768" y="515970"/>
            <a:ext cx="9447077" cy="335098"/>
          </a:xfrm>
          <a:solidFill>
            <a:schemeClr val="bg1"/>
          </a:solidFill>
        </p:spPr>
        <p:txBody>
          <a:bodyPr lIns="36000">
            <a:noAutofit/>
          </a:bodyPr>
          <a:lstStyle>
            <a:lvl1pPr algn="l">
              <a:defRPr sz="2000">
                <a:solidFill>
                  <a:schemeClr val="accent6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30768" y="949199"/>
            <a:ext cx="10943999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148230C-FC63-4FD4-B1D0-C4539887B2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0768" y="1721976"/>
            <a:ext cx="10943999" cy="4678825"/>
          </a:xfrm>
          <a:prstGeom prst="rect">
            <a:avLst/>
          </a:prstGeom>
        </p:spPr>
        <p:txBody>
          <a:bodyPr vert="horz" wrap="square" lIns="36000" tIns="0" rIns="0" bIns="0" rtlCol="0">
            <a:noAutofit/>
          </a:bodyPr>
          <a:lstStyle>
            <a:lvl1pPr marL="92075" indent="-92075">
              <a:tabLst>
                <a:tab pos="92075" algn="l"/>
              </a:tabLst>
              <a:defRPr sz="120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1pPr>
            <a:lvl2pPr>
              <a:defRPr lang="en-US" sz="1200" dirty="0" smtClean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2pPr>
            <a:lvl3pPr>
              <a:defRPr lang="en-US" sz="1200" dirty="0" smtClean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3pPr>
            <a:lvl4pPr>
              <a:defRPr lang="en-US" sz="1200" dirty="0" smtClean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4pPr>
            <a:lvl5pPr>
              <a:defRPr lang="en-GB" dirty="0">
                <a:solidFill>
                  <a:schemeClr val="accent3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First level bulle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  <a:p>
            <a:pPr lvl="3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2449680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8948420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768" y="515970"/>
            <a:ext cx="9447077" cy="335098"/>
          </a:xfrm>
          <a:solidFill>
            <a:schemeClr val="bg1"/>
          </a:solidFill>
        </p:spPr>
        <p:txBody>
          <a:bodyPr lIns="36000">
            <a:noAutofit/>
          </a:bodyPr>
          <a:lstStyle>
            <a:lvl1pPr algn="l">
              <a:defRPr sz="2000">
                <a:solidFill>
                  <a:schemeClr val="accent6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30768" y="949199"/>
            <a:ext cx="10943999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148230C-FC63-4FD4-B1D0-C4539887B2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0768" y="1721976"/>
            <a:ext cx="10943999" cy="4678825"/>
          </a:xfrm>
          <a:prstGeom prst="rect">
            <a:avLst/>
          </a:prstGeom>
        </p:spPr>
        <p:txBody>
          <a:bodyPr vert="horz" wrap="square" lIns="36000" tIns="0" rIns="0" bIns="0" rtlCol="0">
            <a:noAutofit/>
          </a:bodyPr>
          <a:lstStyle>
            <a:lvl1pPr marL="92075" indent="-92075">
              <a:tabLst>
                <a:tab pos="92075" algn="l"/>
              </a:tabLst>
              <a:defRPr sz="120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1pPr>
            <a:lvl2pPr>
              <a:defRPr lang="en-US" sz="1200" dirty="0" smtClean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2pPr>
            <a:lvl3pPr>
              <a:defRPr lang="en-US" sz="1200" dirty="0" smtClean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3pPr>
            <a:lvl4pPr>
              <a:defRPr lang="en-US" sz="1200" dirty="0" smtClean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4pPr>
            <a:lvl5pPr>
              <a:defRPr lang="en-GB" dirty="0">
                <a:solidFill>
                  <a:schemeClr val="accent3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First level bulle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  <a:p>
            <a:pPr lvl="3"/>
            <a:r>
              <a:rPr lang="en-US"/>
              <a:t>Fourth level bulle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9B224F6-9AD1-48BD-B4A4-CE7EFEE8D136}"/>
              </a:ext>
            </a:extLst>
          </p:cNvPr>
          <p:cNvGrpSpPr/>
          <p:nvPr userDrawn="1"/>
        </p:nvGrpSpPr>
        <p:grpSpPr>
          <a:xfrm flipH="1">
            <a:off x="7045234" y="0"/>
            <a:ext cx="5146765" cy="6857998"/>
            <a:chOff x="-1" y="0"/>
            <a:chExt cx="5000264" cy="666701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DE9E0CF-6556-4341-B41E-8A7C44D04501}"/>
                </a:ext>
              </a:extLst>
            </p:cNvPr>
            <p:cNvSpPr/>
            <p:nvPr/>
          </p:nvSpPr>
          <p:spPr>
            <a:xfrm>
              <a:off x="-1" y="0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257DA10-423B-4B01-8FCE-E451DB77135E}"/>
                </a:ext>
              </a:extLst>
            </p:cNvPr>
            <p:cNvSpPr/>
            <p:nvPr/>
          </p:nvSpPr>
          <p:spPr>
            <a:xfrm>
              <a:off x="-1" y="1666755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A1DCDC4-BEF8-4ECD-B02C-0F4292B78539}"/>
                </a:ext>
              </a:extLst>
            </p:cNvPr>
            <p:cNvSpPr/>
            <p:nvPr/>
          </p:nvSpPr>
          <p:spPr>
            <a:xfrm>
              <a:off x="-1" y="3333510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C032061-5110-48EC-AD27-04F0A5BE57E0}"/>
                </a:ext>
              </a:extLst>
            </p:cNvPr>
            <p:cNvSpPr/>
            <p:nvPr/>
          </p:nvSpPr>
          <p:spPr>
            <a:xfrm>
              <a:off x="-1" y="5000259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B281DB3-17BA-4C19-9640-982AA2DE0F70}"/>
                </a:ext>
              </a:extLst>
            </p:cNvPr>
            <p:cNvSpPr/>
            <p:nvPr/>
          </p:nvSpPr>
          <p:spPr>
            <a:xfrm>
              <a:off x="1666753" y="3333509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00E3650-2AEF-4F8B-9FA4-0D0AD89A1334}"/>
                </a:ext>
              </a:extLst>
            </p:cNvPr>
            <p:cNvSpPr/>
            <p:nvPr/>
          </p:nvSpPr>
          <p:spPr>
            <a:xfrm>
              <a:off x="1666754" y="5000261"/>
              <a:ext cx="1666756" cy="1666751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C2967C5-1894-440B-9C8A-C46039ABB7D3}"/>
                </a:ext>
              </a:extLst>
            </p:cNvPr>
            <p:cNvSpPr/>
            <p:nvPr/>
          </p:nvSpPr>
          <p:spPr>
            <a:xfrm>
              <a:off x="1666754" y="1666754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547C61F-45D2-48FB-B03A-99BC69B97296}"/>
                </a:ext>
              </a:extLst>
            </p:cNvPr>
            <p:cNvSpPr/>
            <p:nvPr/>
          </p:nvSpPr>
          <p:spPr>
            <a:xfrm>
              <a:off x="3333508" y="3333508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6E01EC00-6AB7-45CC-8E80-98B0EDED28C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7005" y="6527247"/>
            <a:ext cx="1094400" cy="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3921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5154455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768" y="515970"/>
            <a:ext cx="9447077" cy="335098"/>
          </a:xfrm>
          <a:noFill/>
        </p:spPr>
        <p:txBody>
          <a:bodyPr lIns="36000">
            <a:noAutofit/>
          </a:bodyPr>
          <a:lstStyle>
            <a:lvl1pPr algn="l">
              <a:defRPr sz="2000">
                <a:solidFill>
                  <a:schemeClr val="accent6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30768" y="949199"/>
            <a:ext cx="10943999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</p:spTree>
    <p:extLst>
      <p:ext uri="{BB962C8B-B14F-4D97-AF65-F5344CB8AC3E}">
        <p14:creationId xmlns:p14="http://schemas.microsoft.com/office/powerpoint/2010/main" val="6448345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2218531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768" y="515970"/>
            <a:ext cx="9447077" cy="335098"/>
          </a:xfrm>
          <a:solidFill>
            <a:schemeClr val="bg1"/>
          </a:solidFill>
        </p:spPr>
        <p:txBody>
          <a:bodyPr lIns="36000">
            <a:noAutofit/>
          </a:bodyPr>
          <a:lstStyle>
            <a:lvl1pPr algn="l">
              <a:defRPr sz="2000">
                <a:solidFill>
                  <a:schemeClr val="accent6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30768" y="949199"/>
            <a:ext cx="10943999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</p:spTree>
    <p:extLst>
      <p:ext uri="{BB962C8B-B14F-4D97-AF65-F5344CB8AC3E}">
        <p14:creationId xmlns:p14="http://schemas.microsoft.com/office/powerpoint/2010/main" val="31799986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1682514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picture containing ground&#10;&#10;Description generated with very high confidence">
            <a:extLst>
              <a:ext uri="{FF2B5EF4-FFF2-40B4-BE49-F238E27FC236}">
                <a16:creationId xmlns:a16="http://schemas.microsoft.com/office/drawing/2014/main" id="{DA3EA458-AA1D-4D1E-BC2C-E48A1E036B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768" y="515970"/>
            <a:ext cx="9447077" cy="335098"/>
          </a:xfrm>
          <a:noFill/>
        </p:spPr>
        <p:txBody>
          <a:bodyPr lIns="36000">
            <a:noAutofit/>
          </a:bodyPr>
          <a:lstStyle>
            <a:lvl1pPr algn="l">
              <a:defRPr sz="24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30768" y="949199"/>
            <a:ext cx="10943999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</p:spTree>
    <p:extLst>
      <p:ext uri="{BB962C8B-B14F-4D97-AF65-F5344CB8AC3E}">
        <p14:creationId xmlns:p14="http://schemas.microsoft.com/office/powerpoint/2010/main" val="1170341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3712570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28768378-D554-4DA9-B99B-2CCEAB0261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768" y="515970"/>
            <a:ext cx="9447077" cy="335098"/>
          </a:xfrm>
          <a:noFill/>
        </p:spPr>
        <p:txBody>
          <a:bodyPr lIns="36000">
            <a:noAutofit/>
          </a:bodyPr>
          <a:lstStyle>
            <a:lvl1pPr algn="l">
              <a:defRPr sz="24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30768" y="949199"/>
            <a:ext cx="10943999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</p:spTree>
    <p:extLst>
      <p:ext uri="{BB962C8B-B14F-4D97-AF65-F5344CB8AC3E}">
        <p14:creationId xmlns:p14="http://schemas.microsoft.com/office/powerpoint/2010/main" val="10823896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6223574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F2C32EA4-7249-49F9-B22A-F8C633554B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764" y="0"/>
            <a:ext cx="12192000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94927" y="515970"/>
            <a:ext cx="9298851" cy="335098"/>
          </a:xfrm>
          <a:noFill/>
        </p:spPr>
        <p:txBody>
          <a:bodyPr lIns="36000">
            <a:noAutofit/>
          </a:bodyPr>
          <a:lstStyle>
            <a:lvl1pPr algn="l">
              <a:defRPr sz="24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05093" y="949199"/>
            <a:ext cx="10772286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</p:spTree>
    <p:extLst>
      <p:ext uri="{BB962C8B-B14F-4D97-AF65-F5344CB8AC3E}">
        <p14:creationId xmlns:p14="http://schemas.microsoft.com/office/powerpoint/2010/main" val="20113798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9417810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CONTENTS SLIDE</a:t>
            </a:r>
            <a:endParaRPr lang="en-ZA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7" y="2085874"/>
            <a:ext cx="2995808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17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000" dirty="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600" dirty="0"/>
              <a:t>Normal text here and here and here and here</a:t>
            </a:r>
            <a:endParaRPr lang="en-GB" sz="2000" dirty="0"/>
          </a:p>
          <a:p>
            <a:pPr marL="197049" marR="3008">
              <a:lnSpc>
                <a:spcPct val="100600"/>
              </a:lnSpc>
            </a:pPr>
            <a:endParaRPr lang="en-GB" sz="1600" dirty="0"/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B7093058-1C72-42EE-AFD4-C6A337F2FC13}"/>
              </a:ext>
            </a:extLst>
          </p:cNvPr>
          <p:cNvSpPr/>
          <p:nvPr userDrawn="1"/>
        </p:nvSpPr>
        <p:spPr>
          <a:xfrm>
            <a:off x="8580474" y="3407791"/>
            <a:ext cx="3205788" cy="3090186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A53F04-AED7-452A-9F24-9297FB349A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2169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854666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A0893F9E-6D33-44D0-9985-BEDE56C123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94927" y="515970"/>
            <a:ext cx="9298851" cy="335098"/>
          </a:xfrm>
          <a:noFill/>
        </p:spPr>
        <p:txBody>
          <a:bodyPr lIns="36000">
            <a:noAutofit/>
          </a:bodyPr>
          <a:lstStyle>
            <a:lvl1pPr algn="l">
              <a:defRPr sz="24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05093" y="949199"/>
            <a:ext cx="10772286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</p:spTree>
    <p:extLst>
      <p:ext uri="{BB962C8B-B14F-4D97-AF65-F5344CB8AC3E}">
        <p14:creationId xmlns:p14="http://schemas.microsoft.com/office/powerpoint/2010/main" val="8316414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5410011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0D5DC9DD-194B-4137-BD85-DD13D333A24C}"/>
              </a:ext>
            </a:extLst>
          </p:cNvPr>
          <p:cNvSpPr/>
          <p:nvPr userDrawn="1"/>
        </p:nvSpPr>
        <p:spPr>
          <a:xfrm>
            <a:off x="0" y="0"/>
            <a:ext cx="12192000" cy="6295292"/>
          </a:xfrm>
          <a:prstGeom prst="rect">
            <a:avLst/>
          </a:prstGeom>
          <a:solidFill>
            <a:schemeClr val="accent3">
              <a:lumMod val="90000"/>
              <a:lumOff val="1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768" y="515970"/>
            <a:ext cx="9447077" cy="335098"/>
          </a:xfrm>
          <a:noFill/>
        </p:spPr>
        <p:txBody>
          <a:bodyPr lIns="36000">
            <a:noAutofit/>
          </a:bodyPr>
          <a:lstStyle>
            <a:lvl1pPr algn="l">
              <a:defRPr sz="24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30768" y="949199"/>
            <a:ext cx="10943999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</p:spTree>
    <p:extLst>
      <p:ext uri="{BB962C8B-B14F-4D97-AF65-F5344CB8AC3E}">
        <p14:creationId xmlns:p14="http://schemas.microsoft.com/office/powerpoint/2010/main" val="25786795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2590914"/>
              </p:ext>
            </p:ext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53071" y="641525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53070" y="6540862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Last Modified 2017-01-31 05:58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53071" y="666647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2016-08-05 09:24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2" y="37257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28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9" y="6540990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82E0F37-3C65-4C18-A05F-E6884FED6CC8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32346" y="6586417"/>
            <a:ext cx="129844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16" baseline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0729FAD-589F-406C-AD34-99A5E40CA7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8341" y="1730365"/>
            <a:ext cx="4596343" cy="2512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32" i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endParaRPr lang="en-ZA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88C14C44-3BCC-4CAC-95BA-93F4D02217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8341" y="702366"/>
            <a:ext cx="2856678" cy="376834"/>
          </a:xfrm>
          <a:prstGeom prst="rect">
            <a:avLst/>
          </a:prstGeom>
          <a:solidFill>
            <a:schemeClr val="accent3">
              <a:lumMod val="90000"/>
              <a:lumOff val="10000"/>
            </a:schemeClr>
          </a:solidFill>
        </p:spPr>
        <p:txBody>
          <a:bodyPr/>
          <a:lstStyle>
            <a:lvl1pPr marL="0" indent="0">
              <a:buNone/>
              <a:defRPr sz="2449" i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add</a:t>
            </a:r>
            <a:endParaRPr lang="en-ZA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17ED0F1-C875-45C4-800B-5C3B379D6216}"/>
              </a:ext>
            </a:extLst>
          </p:cNvPr>
          <p:cNvSpPr/>
          <p:nvPr userDrawn="1"/>
        </p:nvSpPr>
        <p:spPr>
          <a:xfrm>
            <a:off x="8600536" y="6136108"/>
            <a:ext cx="3183145" cy="37683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44ACF4-CC5A-43C2-9632-C25015435F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6233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0931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DAE486E4-0805-4ABD-B60F-151706C8DFED}"/>
              </a:ext>
            </a:extLst>
          </p:cNvPr>
          <p:cNvGrpSpPr/>
          <p:nvPr userDrawn="1"/>
        </p:nvGrpSpPr>
        <p:grpSpPr>
          <a:xfrm flipH="1">
            <a:off x="7045234" y="0"/>
            <a:ext cx="5146765" cy="6857998"/>
            <a:chOff x="-1" y="0"/>
            <a:chExt cx="5000264" cy="6667014"/>
          </a:xfr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F82FFE2-25C8-44D6-9425-2A654F90DAD5}"/>
                </a:ext>
              </a:extLst>
            </p:cNvPr>
            <p:cNvSpPr/>
            <p:nvPr/>
          </p:nvSpPr>
          <p:spPr>
            <a:xfrm>
              <a:off x="-1" y="0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0686882-9CE9-4733-B820-742D2CA0366C}"/>
                </a:ext>
              </a:extLst>
            </p:cNvPr>
            <p:cNvSpPr/>
            <p:nvPr/>
          </p:nvSpPr>
          <p:spPr>
            <a:xfrm>
              <a:off x="-1" y="1666755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8C17C4C-97AF-46F6-BEF8-384A8267D5AE}"/>
                </a:ext>
              </a:extLst>
            </p:cNvPr>
            <p:cNvSpPr/>
            <p:nvPr/>
          </p:nvSpPr>
          <p:spPr>
            <a:xfrm>
              <a:off x="-1" y="3333510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FC4E11F-270F-4A48-B94A-AF76A2A3D310}"/>
                </a:ext>
              </a:extLst>
            </p:cNvPr>
            <p:cNvSpPr/>
            <p:nvPr/>
          </p:nvSpPr>
          <p:spPr>
            <a:xfrm>
              <a:off x="-1" y="5000259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76ED5FF-C814-423B-B164-9839325DA78A}"/>
                </a:ext>
              </a:extLst>
            </p:cNvPr>
            <p:cNvSpPr/>
            <p:nvPr/>
          </p:nvSpPr>
          <p:spPr>
            <a:xfrm>
              <a:off x="1666753" y="3333509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CA3426F-F472-4AF9-81D3-D387B845D813}"/>
                </a:ext>
              </a:extLst>
            </p:cNvPr>
            <p:cNvSpPr/>
            <p:nvPr/>
          </p:nvSpPr>
          <p:spPr>
            <a:xfrm>
              <a:off x="1666754" y="5000261"/>
              <a:ext cx="1666756" cy="1666751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7DD0278-EDCD-41A3-8641-8DA623E8A1CD}"/>
                </a:ext>
              </a:extLst>
            </p:cNvPr>
            <p:cNvSpPr/>
            <p:nvPr/>
          </p:nvSpPr>
          <p:spPr>
            <a:xfrm>
              <a:off x="1666754" y="1666754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9CA0524-A3DF-44C2-BD9E-EB0CA90C32AC}"/>
                </a:ext>
              </a:extLst>
            </p:cNvPr>
            <p:cNvSpPr/>
            <p:nvPr/>
          </p:nvSpPr>
          <p:spPr>
            <a:xfrm>
              <a:off x="3333508" y="3333508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8442020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1">
            <a:extLst>
              <a:ext uri="{FF2B5EF4-FFF2-40B4-BE49-F238E27FC236}">
                <a16:creationId xmlns:a16="http://schemas.microsoft.com/office/drawing/2014/main" id="{9D45D07A-587A-4B3C-B1E2-A6E1DB39FA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308093"/>
            <a:ext cx="10915954" cy="282216"/>
          </a:xfrm>
          <a:noFill/>
        </p:spPr>
        <p:txBody>
          <a:bodyPr lIns="36000">
            <a:noAutofit/>
          </a:bodyPr>
          <a:lstStyle>
            <a:lvl1pPr algn="l">
              <a:defRPr lang="en-US" sz="2400" b="0" baseline="0" dirty="0">
                <a:solidFill>
                  <a:srgbClr val="303333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21DEDC5-7A71-4507-96EF-A5542C37178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4300" y="6529619"/>
            <a:ext cx="1094400" cy="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71258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3"/>
          <p:cNvSpPr>
            <a:spLocks noGrp="1"/>
          </p:cNvSpPr>
          <p:nvPr>
            <p:ph type="body" sz="quarter" idx="11"/>
          </p:nvPr>
        </p:nvSpPr>
        <p:spPr>
          <a:xfrm>
            <a:off x="7304405" y="1560511"/>
            <a:ext cx="3855720" cy="9683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36"/>
          <p:cNvSpPr>
            <a:spLocks noGrp="1"/>
          </p:cNvSpPr>
          <p:nvPr>
            <p:ph type="body" sz="quarter" idx="14"/>
          </p:nvPr>
        </p:nvSpPr>
        <p:spPr>
          <a:xfrm>
            <a:off x="7304404" y="1152523"/>
            <a:ext cx="2531747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7304405" y="3355971"/>
            <a:ext cx="3855720" cy="9683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6"/>
          <p:cNvSpPr>
            <a:spLocks noGrp="1"/>
          </p:cNvSpPr>
          <p:nvPr>
            <p:ph type="body" sz="quarter" idx="16"/>
          </p:nvPr>
        </p:nvSpPr>
        <p:spPr>
          <a:xfrm>
            <a:off x="7304404" y="2947983"/>
            <a:ext cx="2531747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7304405" y="5151431"/>
            <a:ext cx="3855720" cy="9683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6"/>
          <p:cNvSpPr>
            <a:spLocks noGrp="1"/>
          </p:cNvSpPr>
          <p:nvPr>
            <p:ph type="body" sz="quarter" idx="18"/>
          </p:nvPr>
        </p:nvSpPr>
        <p:spPr>
          <a:xfrm>
            <a:off x="7304404" y="4743443"/>
            <a:ext cx="2531747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63090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3"/>
          <p:cNvSpPr>
            <a:spLocks noGrp="1"/>
          </p:cNvSpPr>
          <p:nvPr>
            <p:ph type="body" sz="quarter" idx="11"/>
          </p:nvPr>
        </p:nvSpPr>
        <p:spPr>
          <a:xfrm>
            <a:off x="7304405" y="1044318"/>
            <a:ext cx="3855720" cy="8213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36"/>
          <p:cNvSpPr>
            <a:spLocks noGrp="1"/>
          </p:cNvSpPr>
          <p:nvPr>
            <p:ph type="body" sz="quarter" idx="14"/>
          </p:nvPr>
        </p:nvSpPr>
        <p:spPr>
          <a:xfrm>
            <a:off x="7304404" y="636330"/>
            <a:ext cx="2531747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6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7304405" y="2511782"/>
            <a:ext cx="3855720" cy="8213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36"/>
          <p:cNvSpPr>
            <a:spLocks noGrp="1"/>
          </p:cNvSpPr>
          <p:nvPr>
            <p:ph type="body" sz="quarter" idx="16"/>
          </p:nvPr>
        </p:nvSpPr>
        <p:spPr>
          <a:xfrm>
            <a:off x="7304404" y="2103794"/>
            <a:ext cx="2531747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6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7304405" y="3986620"/>
            <a:ext cx="3855720" cy="8213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36"/>
          <p:cNvSpPr>
            <a:spLocks noGrp="1"/>
          </p:cNvSpPr>
          <p:nvPr>
            <p:ph type="body" sz="quarter" idx="18"/>
          </p:nvPr>
        </p:nvSpPr>
        <p:spPr>
          <a:xfrm>
            <a:off x="7304404" y="3578632"/>
            <a:ext cx="2531747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6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33"/>
          <p:cNvSpPr>
            <a:spLocks noGrp="1"/>
          </p:cNvSpPr>
          <p:nvPr>
            <p:ph type="body" sz="quarter" idx="19"/>
          </p:nvPr>
        </p:nvSpPr>
        <p:spPr>
          <a:xfrm>
            <a:off x="7304405" y="5461458"/>
            <a:ext cx="3855720" cy="8213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36"/>
          <p:cNvSpPr>
            <a:spLocks noGrp="1"/>
          </p:cNvSpPr>
          <p:nvPr>
            <p:ph type="body" sz="quarter" idx="20"/>
          </p:nvPr>
        </p:nvSpPr>
        <p:spPr>
          <a:xfrm>
            <a:off x="7304404" y="5053470"/>
            <a:ext cx="2531747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6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75686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3"/>
          <p:cNvSpPr>
            <a:spLocks noGrp="1"/>
          </p:cNvSpPr>
          <p:nvPr>
            <p:ph type="body" sz="quarter" idx="11"/>
          </p:nvPr>
        </p:nvSpPr>
        <p:spPr>
          <a:xfrm>
            <a:off x="7304404" y="960498"/>
            <a:ext cx="3855720" cy="56350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36"/>
          <p:cNvSpPr>
            <a:spLocks noGrp="1"/>
          </p:cNvSpPr>
          <p:nvPr>
            <p:ph type="body" sz="quarter" idx="14"/>
          </p:nvPr>
        </p:nvSpPr>
        <p:spPr>
          <a:xfrm>
            <a:off x="7304404" y="636330"/>
            <a:ext cx="2531747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6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7304404" y="2103498"/>
            <a:ext cx="3855720" cy="56350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36"/>
          <p:cNvSpPr>
            <a:spLocks noGrp="1"/>
          </p:cNvSpPr>
          <p:nvPr>
            <p:ph type="body" sz="quarter" idx="16"/>
          </p:nvPr>
        </p:nvSpPr>
        <p:spPr>
          <a:xfrm>
            <a:off x="7304404" y="1779330"/>
            <a:ext cx="2531747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6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7304404" y="3246498"/>
            <a:ext cx="3855720" cy="56350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36"/>
          <p:cNvSpPr>
            <a:spLocks noGrp="1"/>
          </p:cNvSpPr>
          <p:nvPr>
            <p:ph type="body" sz="quarter" idx="18"/>
          </p:nvPr>
        </p:nvSpPr>
        <p:spPr>
          <a:xfrm>
            <a:off x="7304404" y="2922330"/>
            <a:ext cx="2531747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6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33"/>
          <p:cNvSpPr>
            <a:spLocks noGrp="1"/>
          </p:cNvSpPr>
          <p:nvPr>
            <p:ph type="body" sz="quarter" idx="19"/>
          </p:nvPr>
        </p:nvSpPr>
        <p:spPr>
          <a:xfrm>
            <a:off x="7304404" y="4389498"/>
            <a:ext cx="3855720" cy="56350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36"/>
          <p:cNvSpPr>
            <a:spLocks noGrp="1"/>
          </p:cNvSpPr>
          <p:nvPr>
            <p:ph type="body" sz="quarter" idx="20"/>
          </p:nvPr>
        </p:nvSpPr>
        <p:spPr>
          <a:xfrm>
            <a:off x="7304404" y="4065330"/>
            <a:ext cx="2531747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6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33"/>
          <p:cNvSpPr>
            <a:spLocks noGrp="1"/>
          </p:cNvSpPr>
          <p:nvPr>
            <p:ph type="body" sz="quarter" idx="21"/>
          </p:nvPr>
        </p:nvSpPr>
        <p:spPr>
          <a:xfrm>
            <a:off x="7304404" y="5532498"/>
            <a:ext cx="3855720" cy="56350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22"/>
          </p:nvPr>
        </p:nvSpPr>
        <p:spPr>
          <a:xfrm>
            <a:off x="7304404" y="5208330"/>
            <a:ext cx="2531747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6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80164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0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3"/>
          <p:cNvSpPr>
            <a:spLocks noGrp="1"/>
          </p:cNvSpPr>
          <p:nvPr>
            <p:ph type="body" sz="quarter" idx="11"/>
          </p:nvPr>
        </p:nvSpPr>
        <p:spPr>
          <a:xfrm>
            <a:off x="779145" y="1274759"/>
            <a:ext cx="2390775" cy="8588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36"/>
          <p:cNvSpPr>
            <a:spLocks noGrp="1"/>
          </p:cNvSpPr>
          <p:nvPr>
            <p:ph type="body" sz="quarter" idx="12"/>
          </p:nvPr>
        </p:nvSpPr>
        <p:spPr>
          <a:xfrm>
            <a:off x="8991599" y="872328"/>
            <a:ext cx="2403791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kumimoji="0" lang="en-US" sz="18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8991599" y="1287459"/>
            <a:ext cx="2403791" cy="79375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36"/>
          <p:cNvSpPr>
            <a:spLocks noGrp="1"/>
          </p:cNvSpPr>
          <p:nvPr>
            <p:ph type="body" sz="quarter" idx="14"/>
          </p:nvPr>
        </p:nvSpPr>
        <p:spPr>
          <a:xfrm>
            <a:off x="779145" y="872328"/>
            <a:ext cx="2390776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8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779145" y="5246684"/>
            <a:ext cx="2390775" cy="8588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36"/>
          <p:cNvSpPr>
            <a:spLocks noGrp="1"/>
          </p:cNvSpPr>
          <p:nvPr>
            <p:ph type="body" sz="quarter" idx="16"/>
          </p:nvPr>
        </p:nvSpPr>
        <p:spPr>
          <a:xfrm>
            <a:off x="779145" y="4844253"/>
            <a:ext cx="2390776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8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36"/>
          <p:cNvSpPr>
            <a:spLocks noGrp="1"/>
          </p:cNvSpPr>
          <p:nvPr>
            <p:ph type="body" sz="quarter" idx="17"/>
          </p:nvPr>
        </p:nvSpPr>
        <p:spPr>
          <a:xfrm>
            <a:off x="8991599" y="4844253"/>
            <a:ext cx="2403791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kumimoji="0" lang="en-US" sz="18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33"/>
          <p:cNvSpPr>
            <a:spLocks noGrp="1"/>
          </p:cNvSpPr>
          <p:nvPr>
            <p:ph type="body" sz="quarter" idx="18"/>
          </p:nvPr>
        </p:nvSpPr>
        <p:spPr>
          <a:xfrm>
            <a:off x="8991599" y="5259384"/>
            <a:ext cx="2403791" cy="79375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76077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775333" y="5418134"/>
            <a:ext cx="1640208" cy="8588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36"/>
          <p:cNvSpPr>
            <a:spLocks noGrp="1"/>
          </p:cNvSpPr>
          <p:nvPr>
            <p:ph type="body" sz="quarter" idx="16"/>
          </p:nvPr>
        </p:nvSpPr>
        <p:spPr>
          <a:xfrm>
            <a:off x="775332" y="5035548"/>
            <a:ext cx="1691679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8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33"/>
          <p:cNvSpPr>
            <a:spLocks noGrp="1"/>
          </p:cNvSpPr>
          <p:nvPr>
            <p:ph type="body" sz="quarter" idx="19"/>
          </p:nvPr>
        </p:nvSpPr>
        <p:spPr>
          <a:xfrm>
            <a:off x="775334" y="3433362"/>
            <a:ext cx="1640208" cy="8588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36"/>
          <p:cNvSpPr>
            <a:spLocks noGrp="1"/>
          </p:cNvSpPr>
          <p:nvPr>
            <p:ph type="body" sz="quarter" idx="20"/>
          </p:nvPr>
        </p:nvSpPr>
        <p:spPr>
          <a:xfrm>
            <a:off x="775333" y="3050776"/>
            <a:ext cx="1764035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8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33"/>
          <p:cNvSpPr>
            <a:spLocks noGrp="1"/>
          </p:cNvSpPr>
          <p:nvPr>
            <p:ph type="body" sz="quarter" idx="21"/>
          </p:nvPr>
        </p:nvSpPr>
        <p:spPr>
          <a:xfrm>
            <a:off x="775333" y="1405336"/>
            <a:ext cx="1640208" cy="8588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36"/>
          <p:cNvSpPr>
            <a:spLocks noGrp="1"/>
          </p:cNvSpPr>
          <p:nvPr>
            <p:ph type="body" sz="quarter" idx="22"/>
          </p:nvPr>
        </p:nvSpPr>
        <p:spPr>
          <a:xfrm>
            <a:off x="775332" y="1022750"/>
            <a:ext cx="1764035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8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36"/>
          <p:cNvSpPr>
            <a:spLocks noGrp="1"/>
          </p:cNvSpPr>
          <p:nvPr>
            <p:ph type="body" sz="quarter" idx="23"/>
          </p:nvPr>
        </p:nvSpPr>
        <p:spPr>
          <a:xfrm>
            <a:off x="9429749" y="3112687"/>
            <a:ext cx="1889441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kumimoji="0" lang="en-US" sz="18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33"/>
          <p:cNvSpPr>
            <a:spLocks noGrp="1"/>
          </p:cNvSpPr>
          <p:nvPr>
            <p:ph type="body" sz="quarter" idx="24"/>
          </p:nvPr>
        </p:nvSpPr>
        <p:spPr>
          <a:xfrm>
            <a:off x="9753599" y="3495273"/>
            <a:ext cx="1565591" cy="79375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36"/>
          <p:cNvSpPr>
            <a:spLocks noGrp="1"/>
          </p:cNvSpPr>
          <p:nvPr>
            <p:ph type="body" sz="quarter" idx="25"/>
          </p:nvPr>
        </p:nvSpPr>
        <p:spPr>
          <a:xfrm>
            <a:off x="9429748" y="1022750"/>
            <a:ext cx="1889441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kumimoji="0" lang="en-US" sz="18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33"/>
          <p:cNvSpPr>
            <a:spLocks noGrp="1"/>
          </p:cNvSpPr>
          <p:nvPr>
            <p:ph type="body" sz="quarter" idx="26"/>
          </p:nvPr>
        </p:nvSpPr>
        <p:spPr>
          <a:xfrm>
            <a:off x="9753598" y="1405336"/>
            <a:ext cx="1565591" cy="79375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36"/>
          <p:cNvSpPr>
            <a:spLocks noGrp="1"/>
          </p:cNvSpPr>
          <p:nvPr>
            <p:ph type="body" sz="quarter" idx="27"/>
          </p:nvPr>
        </p:nvSpPr>
        <p:spPr>
          <a:xfrm>
            <a:off x="9429748" y="5087938"/>
            <a:ext cx="1889441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kumimoji="0" lang="en-US" sz="18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28"/>
          </p:nvPr>
        </p:nvSpPr>
        <p:spPr>
          <a:xfrm>
            <a:off x="9753598" y="5470524"/>
            <a:ext cx="1565591" cy="79375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75529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0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3"/>
          <p:cNvSpPr>
            <a:spLocks noGrp="1"/>
          </p:cNvSpPr>
          <p:nvPr>
            <p:ph type="body" sz="quarter" idx="19"/>
          </p:nvPr>
        </p:nvSpPr>
        <p:spPr>
          <a:xfrm>
            <a:off x="700088" y="3814329"/>
            <a:ext cx="1640208" cy="8588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33"/>
          <p:cNvSpPr>
            <a:spLocks noGrp="1"/>
          </p:cNvSpPr>
          <p:nvPr>
            <p:ph type="body" sz="quarter" idx="20"/>
          </p:nvPr>
        </p:nvSpPr>
        <p:spPr>
          <a:xfrm>
            <a:off x="2277877" y="5451882"/>
            <a:ext cx="1640208" cy="8588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21"/>
          </p:nvPr>
        </p:nvSpPr>
        <p:spPr>
          <a:xfrm>
            <a:off x="8236418" y="5451882"/>
            <a:ext cx="1640208" cy="8588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33"/>
          <p:cNvSpPr>
            <a:spLocks noGrp="1"/>
          </p:cNvSpPr>
          <p:nvPr>
            <p:ph type="body" sz="quarter" idx="22"/>
          </p:nvPr>
        </p:nvSpPr>
        <p:spPr>
          <a:xfrm>
            <a:off x="9605029" y="3814329"/>
            <a:ext cx="1640208" cy="8588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36"/>
          <p:cNvSpPr>
            <a:spLocks noGrp="1"/>
          </p:cNvSpPr>
          <p:nvPr>
            <p:ph type="body" sz="quarter" idx="23"/>
          </p:nvPr>
        </p:nvSpPr>
        <p:spPr>
          <a:xfrm>
            <a:off x="638174" y="3508961"/>
            <a:ext cx="1764035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8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36"/>
          <p:cNvSpPr>
            <a:spLocks noGrp="1"/>
          </p:cNvSpPr>
          <p:nvPr>
            <p:ph type="body" sz="quarter" idx="24"/>
          </p:nvPr>
        </p:nvSpPr>
        <p:spPr>
          <a:xfrm>
            <a:off x="2277877" y="5133927"/>
            <a:ext cx="1764035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8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36"/>
          <p:cNvSpPr>
            <a:spLocks noGrp="1"/>
          </p:cNvSpPr>
          <p:nvPr>
            <p:ph type="body" sz="quarter" idx="25"/>
          </p:nvPr>
        </p:nvSpPr>
        <p:spPr>
          <a:xfrm>
            <a:off x="8236418" y="5133927"/>
            <a:ext cx="1764035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8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36"/>
          <p:cNvSpPr>
            <a:spLocks noGrp="1"/>
          </p:cNvSpPr>
          <p:nvPr>
            <p:ph type="body" sz="quarter" idx="26"/>
          </p:nvPr>
        </p:nvSpPr>
        <p:spPr>
          <a:xfrm>
            <a:off x="9605029" y="3508961"/>
            <a:ext cx="1764035" cy="54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8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7331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3726504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CONTENTS SLIDE</a:t>
            </a:r>
            <a:endParaRPr lang="en-ZA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6" y="2085874"/>
            <a:ext cx="2967233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17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000" dirty="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600" dirty="0"/>
              <a:t>Normal text here and here and here and here</a:t>
            </a:r>
            <a:endParaRPr lang="en-GB" sz="2000" dirty="0"/>
          </a:p>
          <a:p>
            <a:pPr marL="197049" marR="3008" indent="-189904">
              <a:lnSpc>
                <a:spcPct val="100600"/>
              </a:lnSpc>
              <a:spcBef>
                <a:spcPts val="56"/>
              </a:spcBef>
            </a:pPr>
            <a:endParaRPr lang="en-GB" sz="1600" b="1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object 8">
            <a:extLst>
              <a:ext uri="{FF2B5EF4-FFF2-40B4-BE49-F238E27FC236}">
                <a16:creationId xmlns:a16="http://schemas.microsoft.com/office/drawing/2014/main" id="{558145CC-D3BC-4C88-AA7C-565A0C5BCABE}"/>
              </a:ext>
            </a:extLst>
          </p:cNvPr>
          <p:cNvSpPr/>
          <p:nvPr userDrawn="1"/>
        </p:nvSpPr>
        <p:spPr>
          <a:xfrm>
            <a:off x="8189297" y="4958505"/>
            <a:ext cx="3821367" cy="1519130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0BB016E-539B-4F7E-9E4A-780487E1CEF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180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01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3"/>
          <p:cNvSpPr>
            <a:spLocks noGrp="1"/>
          </p:cNvSpPr>
          <p:nvPr>
            <p:ph type="body" sz="quarter" idx="19"/>
          </p:nvPr>
        </p:nvSpPr>
        <p:spPr>
          <a:xfrm>
            <a:off x="1552575" y="1550780"/>
            <a:ext cx="1450976" cy="5320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36"/>
          <p:cNvSpPr>
            <a:spLocks noGrp="1"/>
          </p:cNvSpPr>
          <p:nvPr>
            <p:ph type="body" sz="quarter" idx="23"/>
          </p:nvPr>
        </p:nvSpPr>
        <p:spPr>
          <a:xfrm>
            <a:off x="1552575" y="1305511"/>
            <a:ext cx="1450975" cy="27066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2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33"/>
          <p:cNvSpPr>
            <a:spLocks noGrp="1"/>
          </p:cNvSpPr>
          <p:nvPr>
            <p:ph type="body" sz="quarter" idx="24"/>
          </p:nvPr>
        </p:nvSpPr>
        <p:spPr>
          <a:xfrm>
            <a:off x="3089275" y="2547730"/>
            <a:ext cx="1450976" cy="5320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36"/>
          <p:cNvSpPr>
            <a:spLocks noGrp="1"/>
          </p:cNvSpPr>
          <p:nvPr>
            <p:ph type="body" sz="quarter" idx="25"/>
          </p:nvPr>
        </p:nvSpPr>
        <p:spPr>
          <a:xfrm>
            <a:off x="3089275" y="2302461"/>
            <a:ext cx="1450975" cy="27066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2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33"/>
          <p:cNvSpPr>
            <a:spLocks noGrp="1"/>
          </p:cNvSpPr>
          <p:nvPr>
            <p:ph type="body" sz="quarter" idx="26"/>
          </p:nvPr>
        </p:nvSpPr>
        <p:spPr>
          <a:xfrm>
            <a:off x="4594225" y="693530"/>
            <a:ext cx="1450976" cy="5320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36"/>
          <p:cNvSpPr>
            <a:spLocks noGrp="1"/>
          </p:cNvSpPr>
          <p:nvPr>
            <p:ph type="body" sz="quarter" idx="27"/>
          </p:nvPr>
        </p:nvSpPr>
        <p:spPr>
          <a:xfrm>
            <a:off x="4594225" y="448261"/>
            <a:ext cx="1450975" cy="27066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2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33"/>
          <p:cNvSpPr>
            <a:spLocks noGrp="1"/>
          </p:cNvSpPr>
          <p:nvPr>
            <p:ph type="body" sz="quarter" idx="28"/>
          </p:nvPr>
        </p:nvSpPr>
        <p:spPr>
          <a:xfrm>
            <a:off x="6600825" y="1310170"/>
            <a:ext cx="1450976" cy="5320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29"/>
          </p:nvPr>
        </p:nvSpPr>
        <p:spPr>
          <a:xfrm>
            <a:off x="6600825" y="1064901"/>
            <a:ext cx="1450975" cy="27066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2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33"/>
          <p:cNvSpPr>
            <a:spLocks noGrp="1"/>
          </p:cNvSpPr>
          <p:nvPr>
            <p:ph type="body" sz="quarter" idx="30"/>
          </p:nvPr>
        </p:nvSpPr>
        <p:spPr>
          <a:xfrm>
            <a:off x="7940675" y="2700820"/>
            <a:ext cx="1450976" cy="5320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36"/>
          <p:cNvSpPr>
            <a:spLocks noGrp="1"/>
          </p:cNvSpPr>
          <p:nvPr>
            <p:ph type="body" sz="quarter" idx="31"/>
          </p:nvPr>
        </p:nvSpPr>
        <p:spPr>
          <a:xfrm>
            <a:off x="7940675" y="2455551"/>
            <a:ext cx="1450975" cy="27066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2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33"/>
          <p:cNvSpPr>
            <a:spLocks noGrp="1"/>
          </p:cNvSpPr>
          <p:nvPr>
            <p:ph type="body" sz="quarter" idx="32"/>
          </p:nvPr>
        </p:nvSpPr>
        <p:spPr>
          <a:xfrm>
            <a:off x="9566275" y="1684820"/>
            <a:ext cx="1450976" cy="5320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36"/>
          <p:cNvSpPr>
            <a:spLocks noGrp="1"/>
          </p:cNvSpPr>
          <p:nvPr>
            <p:ph type="body" sz="quarter" idx="33"/>
          </p:nvPr>
        </p:nvSpPr>
        <p:spPr>
          <a:xfrm>
            <a:off x="9566275" y="1439551"/>
            <a:ext cx="1450975" cy="27066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2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86543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01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3"/>
          <p:cNvSpPr>
            <a:spLocks noGrp="1"/>
          </p:cNvSpPr>
          <p:nvPr>
            <p:ph type="body" sz="quarter" idx="19"/>
          </p:nvPr>
        </p:nvSpPr>
        <p:spPr>
          <a:xfrm>
            <a:off x="1981945" y="1296338"/>
            <a:ext cx="1450976" cy="5320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36"/>
          <p:cNvSpPr>
            <a:spLocks noGrp="1"/>
          </p:cNvSpPr>
          <p:nvPr>
            <p:ph type="body" sz="quarter" idx="23"/>
          </p:nvPr>
        </p:nvSpPr>
        <p:spPr>
          <a:xfrm>
            <a:off x="1981945" y="1051069"/>
            <a:ext cx="1450975" cy="27066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2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33"/>
          <p:cNvSpPr>
            <a:spLocks noGrp="1"/>
          </p:cNvSpPr>
          <p:nvPr>
            <p:ph type="body" sz="quarter" idx="24"/>
          </p:nvPr>
        </p:nvSpPr>
        <p:spPr>
          <a:xfrm>
            <a:off x="3779353" y="2301239"/>
            <a:ext cx="1450976" cy="5320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36"/>
          <p:cNvSpPr>
            <a:spLocks noGrp="1"/>
          </p:cNvSpPr>
          <p:nvPr>
            <p:ph type="body" sz="quarter" idx="25"/>
          </p:nvPr>
        </p:nvSpPr>
        <p:spPr>
          <a:xfrm>
            <a:off x="3779353" y="2055970"/>
            <a:ext cx="1450975" cy="27066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2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33"/>
          <p:cNvSpPr>
            <a:spLocks noGrp="1"/>
          </p:cNvSpPr>
          <p:nvPr>
            <p:ph type="body" sz="quarter" idx="26"/>
          </p:nvPr>
        </p:nvSpPr>
        <p:spPr>
          <a:xfrm>
            <a:off x="5604041" y="1226267"/>
            <a:ext cx="1450976" cy="5320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36"/>
          <p:cNvSpPr>
            <a:spLocks noGrp="1"/>
          </p:cNvSpPr>
          <p:nvPr>
            <p:ph type="body" sz="quarter" idx="27"/>
          </p:nvPr>
        </p:nvSpPr>
        <p:spPr>
          <a:xfrm>
            <a:off x="5604041" y="980998"/>
            <a:ext cx="1450975" cy="27066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2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33"/>
          <p:cNvSpPr>
            <a:spLocks noGrp="1"/>
          </p:cNvSpPr>
          <p:nvPr>
            <p:ph type="body" sz="quarter" idx="28"/>
          </p:nvPr>
        </p:nvSpPr>
        <p:spPr>
          <a:xfrm>
            <a:off x="7403906" y="1866761"/>
            <a:ext cx="1450976" cy="5320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29"/>
          </p:nvPr>
        </p:nvSpPr>
        <p:spPr>
          <a:xfrm>
            <a:off x="7403906" y="1621492"/>
            <a:ext cx="1450975" cy="27066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2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33"/>
          <p:cNvSpPr>
            <a:spLocks noGrp="1"/>
          </p:cNvSpPr>
          <p:nvPr>
            <p:ph type="body" sz="quarter" idx="30"/>
          </p:nvPr>
        </p:nvSpPr>
        <p:spPr>
          <a:xfrm>
            <a:off x="9157224" y="832263"/>
            <a:ext cx="1450976" cy="5320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36"/>
          <p:cNvSpPr>
            <a:spLocks noGrp="1"/>
          </p:cNvSpPr>
          <p:nvPr>
            <p:ph type="body" sz="quarter" idx="31"/>
          </p:nvPr>
        </p:nvSpPr>
        <p:spPr>
          <a:xfrm>
            <a:off x="9157224" y="586994"/>
            <a:ext cx="1450975" cy="27066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en-US" sz="12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  <a:lvl2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2pPr>
            <a:lvl3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3pPr>
            <a:lvl4pPr>
              <a:defRPr kumimoji="0" lang="en-US" sz="2400" b="1" i="0" u="none" strike="noStrike" kern="1200" cap="none" normalizeH="0" baseline="0" dirty="0" smtClean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4pPr>
            <a:lvl5pPr>
              <a:defRPr kumimoji="0" lang="ru-RU" sz="2400" b="1" i="0" u="none" strike="noStrike" kern="1200" cap="none" normalizeH="0" baseline="0" dirty="0">
                <a:ln>
                  <a:noFill/>
                </a:ln>
                <a:solidFill>
                  <a:srgbClr val="FE2635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9998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F40AD3-8149-A2CC-B6C0-C77FE09D3A0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BA158A53-773C-4A94-BCAA-633E31DDEF01}" type="datetimeFigureOut">
              <a:rPr lang="ru-RU"/>
              <a:pPr>
                <a:defRPr/>
              </a:pPr>
              <a:t>09.05.2023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C7CDC4-0CD3-EF32-E0CE-4C45C5D67D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CB310A-E011-AEA6-2BA0-6AE4EE08BE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C4E32B0F-5590-4AA5-89B2-DCCFC09537DC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6161952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1524CD-94D0-3FCB-6D04-1F888B76DA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CE8F35E1-7E3F-4582-AF45-E2F17F65A06F}" type="datetimeFigureOut">
              <a:rPr lang="ru-RU"/>
              <a:pPr>
                <a:defRPr/>
              </a:pPr>
              <a:t>09.05.2023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B0A64B-E79F-AEDB-3FC5-831F8D558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B7240-BCD0-543A-2B74-241F41A01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66A401E0-1EF0-4DE1-98CA-1A5D03F417E1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7716082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8B9CD3-9D90-DBFE-B1D0-A4848BB5F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7CB06EC9-C240-4137-9C9C-EF81C3F2E673}" type="datetimeFigureOut">
              <a:rPr lang="ru-RU"/>
              <a:pPr>
                <a:defRPr/>
              </a:pPr>
              <a:t>09.05.2023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0C4323-72EB-9357-B011-35CE89ED8D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E7E3D8-7B4C-1B5E-8510-D8D2C22F2F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49290E7B-ADC1-4F85-8FCE-A18DCBB91068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1105426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27CDDD9-665E-7281-D1C0-D7733F777A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7F43DA85-6296-494F-A89E-DC062E3BA162}" type="datetimeFigureOut">
              <a:rPr lang="ru-RU"/>
              <a:pPr>
                <a:defRPr/>
              </a:pPr>
              <a:t>09.05.2023</a:t>
            </a:fld>
            <a:endParaRPr lang="ru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08A0CAC-FF19-7AF4-1202-293AF6C750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4CBC04F-18F1-8712-7C3C-DA8A3E8FD5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9F844A02-F6ED-4AE0-8189-C0DDACEC52AD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4531586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59D2E1-5E85-06A7-AD74-B6EE5196F13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03AE7B55-0928-47C4-AFAC-04E282A917CC}" type="datetimeFigureOut">
              <a:rPr lang="ru-RU"/>
              <a:pPr>
                <a:defRPr/>
              </a:pPr>
              <a:t>09.05.2023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44CB34-EEB1-3C85-9B1D-9AF47156E9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7701A8-0669-6C10-A168-80B98AA6A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272A1631-C443-4C30-8C69-5919C54E05F9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8707797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CB0A9F9-EBF1-9D02-5554-D54665507D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92ABA16C-56D9-43C5-A5A8-95597E12135A}" type="datetimeFigureOut">
              <a:rPr lang="ru-RU"/>
              <a:pPr>
                <a:defRPr/>
              </a:pPr>
              <a:t>09.05.2023</a:t>
            </a:fld>
            <a:endParaRPr lang="ru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834E250-FDD3-6A7F-C7A7-E52C8F355C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24ADB3-6017-54FE-2015-F9E97C81B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1B80E367-9DCE-4815-9F0F-303772336D7C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6222527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DCA29B-65DD-1DEB-ABE5-7E91FB11C7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D6F62402-5123-4034-81DB-B2AB7A2AC626}" type="datetimeFigureOut">
              <a:rPr lang="ru-RU"/>
              <a:pPr>
                <a:defRPr/>
              </a:pPr>
              <a:t>09.05.2023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088F58-56D1-1E1D-B878-145012438D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C4FE66-DF98-8E88-980A-735512BDB7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C90CCE19-D617-436B-902B-4180B6FFF5EB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40301175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C47F38-78A9-846B-27FB-5B6C55C68F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68571A0A-9F8F-4585-85D5-DB2426DCC3F0}" type="datetimeFigureOut">
              <a:rPr lang="ru-RU"/>
              <a:pPr>
                <a:defRPr/>
              </a:pPr>
              <a:t>09.05.2023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3E843E-76DF-2A98-2F8B-5DEF1CAC5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E89148-C406-F33F-F2AA-1D13B4792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8D995BAA-7DF1-46BE-9282-EC41396EE89B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42378823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603894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ON TWO LINES IF NECESSARY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8308660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C3877D-3C09-BB3F-168E-A1B1F45665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1008C58A-6DEA-45A1-BD30-F943B28A76E6}" type="datetimeFigureOut">
              <a:rPr lang="ru-RU"/>
              <a:pPr>
                <a:defRPr/>
              </a:pPr>
              <a:t>09.05.2023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E4FBC7-0BC6-4E3B-3475-381E52DC86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136542-9A65-13B0-BBB9-6456BF5A6B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7C09E8DF-83B2-41AC-A63C-EC4F18A86D9E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56261616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1C9B13-579F-DE0F-A164-39F1C19E782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6238F8EC-679A-4B34-A758-60E717D511F0}" type="datetimeFigureOut">
              <a:rPr lang="ru-RU"/>
              <a:pPr>
                <a:defRPr/>
              </a:pPr>
              <a:t>09.05.2023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D5616E-39C9-DB25-CD2B-6A4E34859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925F65-A615-5409-A0D5-127EA84680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8B228C9B-C09D-4AF2-9CE1-83B9DCB8DEF7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62745987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5561083"/>
              </p:ext>
            </p:ext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 userDrawn="1"/>
        </p:nvSpPr>
        <p:spPr>
          <a:xfrm>
            <a:off x="2771428" y="6355873"/>
            <a:ext cx="8881437" cy="382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03"/>
            <a:r>
              <a:rPr lang="en-US" sz="918" dirty="0">
                <a:latin typeface="Segoe UI" panose="020B0502040204020203" pitchFamily="34" charset="0"/>
                <a:sym typeface="Segoe UI" panose="020B0502040204020203" pitchFamily="34" charset="0"/>
              </a:rPr>
              <a:t>CONFIDENTIAL AND PROPRIETARY </a:t>
            </a:r>
            <a:br>
              <a:rPr lang="en-US" sz="918" dirty="0">
                <a:latin typeface="Segoe UI" panose="020B0502040204020203" pitchFamily="34" charset="0"/>
                <a:sym typeface="Segoe UI" panose="020B0502040204020203" pitchFamily="34" charset="0"/>
              </a:rPr>
            </a:br>
            <a:r>
              <a:rPr lang="en-US" sz="918" dirty="0">
                <a:latin typeface="Segoe UI" panose="020B0502040204020203" pitchFamily="34" charset="0"/>
                <a:sym typeface="Segoe UI" panose="020B0502040204020203" pitchFamily="34" charset="0"/>
              </a:rPr>
              <a:t>Any use of this material without the permission of Letsema is strictly prohibited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A888493-B9AD-4E71-9676-73CC59E471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53071" y="641525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53070" y="6540862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Last Modified 2017-01-31 05:58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53071" y="666647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2016-08-05 09:24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2" y="37257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28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9" y="6540990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5DEEE08-7C00-4ADC-8092-2248789EC7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038927" y="3329703"/>
            <a:ext cx="2241751" cy="30777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i="0">
                <a:solidFill>
                  <a:schemeClr val="bg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endParaRPr lang="en-ZA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1C9452F-1984-4FEE-885B-B747D56C624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89658" y="3238471"/>
            <a:ext cx="2857899" cy="381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2382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2954229"/>
              </p:ext>
            </p:ext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 userDrawn="1"/>
        </p:nvSpPr>
        <p:spPr>
          <a:xfrm>
            <a:off x="2771428" y="6355873"/>
            <a:ext cx="8881437" cy="382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03"/>
            <a:r>
              <a:rPr lang="en-US" sz="918" dirty="0">
                <a:latin typeface="Segoe UI" panose="020B0502040204020203" pitchFamily="34" charset="0"/>
                <a:sym typeface="Segoe UI" panose="020B0502040204020203" pitchFamily="34" charset="0"/>
              </a:rPr>
              <a:t>CONFIDENTIAL AND PROPRIETARY </a:t>
            </a:r>
            <a:br>
              <a:rPr lang="en-US" sz="918" dirty="0">
                <a:latin typeface="Segoe UI" panose="020B0502040204020203" pitchFamily="34" charset="0"/>
                <a:sym typeface="Segoe UI" panose="020B0502040204020203" pitchFamily="34" charset="0"/>
              </a:rPr>
            </a:br>
            <a:r>
              <a:rPr lang="en-US" sz="918" dirty="0">
                <a:latin typeface="Segoe UI" panose="020B0502040204020203" pitchFamily="34" charset="0"/>
                <a:sym typeface="Segoe UI" panose="020B0502040204020203" pitchFamily="34" charset="0"/>
              </a:rPr>
              <a:t>Any use of this material without the permission of Letsema is strictly prohibited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A888493-B9AD-4E71-9676-73CC59E471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53071" y="641525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53070" y="6540862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Last Modified 2017-01-31 05:58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53071" y="666647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2016-08-05 09:24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2" y="37257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28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9" y="6540990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84430358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81435"/>
              </p:ext>
            </p:ext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53071" y="641525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53070" y="6540862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Last Modified 2017-01-31 05:58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53071" y="666647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2016-08-05 09:24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2" y="37257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28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9" y="6540990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82E0F37-3C65-4C18-A05F-E6884FED6CC8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32346" y="6586417"/>
            <a:ext cx="129844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16" baseline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6922CA3-BBC2-4E1D-B1D1-FAAD72080EEA}"/>
              </a:ext>
            </a:extLst>
          </p:cNvPr>
          <p:cNvSpPr/>
          <p:nvPr userDrawn="1"/>
        </p:nvSpPr>
        <p:spPr>
          <a:xfrm>
            <a:off x="2" y="0"/>
            <a:ext cx="6629396" cy="6858000"/>
          </a:xfrm>
          <a:prstGeom prst="rect">
            <a:avLst/>
          </a:prstGeom>
          <a:solidFill>
            <a:schemeClr val="accent3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428" b="1" dirty="0">
              <a:solidFill>
                <a:schemeClr val="bg1"/>
              </a:solidFill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0729FAD-589F-406C-AD34-99A5E40CA7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567" y="2315156"/>
            <a:ext cx="4596343" cy="2512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32" i="0">
                <a:solidFill>
                  <a:schemeClr val="accent3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endParaRPr lang="en-ZA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88C14C44-3BCC-4CAC-95BA-93F4D02217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567" y="1287157"/>
            <a:ext cx="2856678" cy="376834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2449" i="0">
                <a:solidFill>
                  <a:schemeClr val="accent6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add</a:t>
            </a:r>
            <a:endParaRPr lang="en-ZA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5CB3CA-0D7B-4B3F-9A21-4D84F8F944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 rot="10800000" flipH="1">
            <a:off x="8851392" y="3242"/>
            <a:ext cx="3343578" cy="5474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4812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957038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768" y="515970"/>
            <a:ext cx="9447077" cy="335098"/>
          </a:xfrm>
          <a:solidFill>
            <a:schemeClr val="bg1"/>
          </a:solidFill>
        </p:spPr>
        <p:txBody>
          <a:bodyPr lIns="36000">
            <a:noAutofit/>
          </a:bodyPr>
          <a:lstStyle>
            <a:lvl1pPr algn="l">
              <a:defRPr sz="2000">
                <a:solidFill>
                  <a:schemeClr val="accent6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30768" y="949199"/>
            <a:ext cx="10943999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148230C-FC63-4FD4-B1D0-C4539887B2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0768" y="1721976"/>
            <a:ext cx="10943999" cy="4678825"/>
          </a:xfrm>
          <a:prstGeom prst="rect">
            <a:avLst/>
          </a:prstGeom>
        </p:spPr>
        <p:txBody>
          <a:bodyPr vert="horz" wrap="square" lIns="36000" tIns="0" rIns="0" bIns="0" rtlCol="0">
            <a:noAutofit/>
          </a:bodyPr>
          <a:lstStyle>
            <a:lvl1pPr marL="92075" indent="-92075">
              <a:tabLst>
                <a:tab pos="92075" algn="l"/>
              </a:tabLst>
              <a:defRPr sz="120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1pPr>
            <a:lvl2pPr>
              <a:defRPr lang="en-US" sz="1200" dirty="0" smtClean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2pPr>
            <a:lvl3pPr>
              <a:defRPr lang="en-US" sz="1200" dirty="0" smtClean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3pPr>
            <a:lvl4pPr>
              <a:defRPr lang="en-US" sz="1200" dirty="0" smtClean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4pPr>
            <a:lvl5pPr>
              <a:defRPr lang="en-GB" dirty="0">
                <a:solidFill>
                  <a:schemeClr val="accent3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First level bulle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  <a:p>
            <a:pPr lvl="3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8250922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8977987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768" y="515970"/>
            <a:ext cx="9447077" cy="335098"/>
          </a:xfrm>
          <a:solidFill>
            <a:schemeClr val="bg1"/>
          </a:solidFill>
        </p:spPr>
        <p:txBody>
          <a:bodyPr lIns="36000">
            <a:noAutofit/>
          </a:bodyPr>
          <a:lstStyle>
            <a:lvl1pPr algn="l">
              <a:defRPr sz="2000">
                <a:solidFill>
                  <a:schemeClr val="accent6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30768" y="949199"/>
            <a:ext cx="10943999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148230C-FC63-4FD4-B1D0-C4539887B2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0768" y="1721976"/>
            <a:ext cx="10943999" cy="4678825"/>
          </a:xfrm>
          <a:prstGeom prst="rect">
            <a:avLst/>
          </a:prstGeom>
        </p:spPr>
        <p:txBody>
          <a:bodyPr vert="horz" wrap="square" lIns="36000" tIns="0" rIns="0" bIns="0" rtlCol="0">
            <a:noAutofit/>
          </a:bodyPr>
          <a:lstStyle>
            <a:lvl1pPr marL="92075" indent="-92075">
              <a:tabLst>
                <a:tab pos="92075" algn="l"/>
              </a:tabLst>
              <a:defRPr sz="120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1pPr>
            <a:lvl2pPr>
              <a:defRPr lang="en-US" sz="1200" dirty="0" smtClean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2pPr>
            <a:lvl3pPr>
              <a:defRPr lang="en-US" sz="1200" dirty="0" smtClean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3pPr>
            <a:lvl4pPr>
              <a:defRPr lang="en-US" sz="1200" dirty="0" smtClean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4pPr>
            <a:lvl5pPr>
              <a:defRPr lang="en-GB" dirty="0">
                <a:solidFill>
                  <a:schemeClr val="accent3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First level bulle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  <a:p>
            <a:pPr lvl="3"/>
            <a:r>
              <a:rPr lang="en-US"/>
              <a:t>Fourth level bulle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9B224F6-9AD1-48BD-B4A4-CE7EFEE8D136}"/>
              </a:ext>
            </a:extLst>
          </p:cNvPr>
          <p:cNvGrpSpPr/>
          <p:nvPr userDrawn="1"/>
        </p:nvGrpSpPr>
        <p:grpSpPr>
          <a:xfrm flipH="1">
            <a:off x="7045234" y="0"/>
            <a:ext cx="5146765" cy="6857998"/>
            <a:chOff x="-1" y="0"/>
            <a:chExt cx="5000264" cy="666701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DE9E0CF-6556-4341-B41E-8A7C44D04501}"/>
                </a:ext>
              </a:extLst>
            </p:cNvPr>
            <p:cNvSpPr/>
            <p:nvPr/>
          </p:nvSpPr>
          <p:spPr>
            <a:xfrm>
              <a:off x="-1" y="0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257DA10-423B-4B01-8FCE-E451DB77135E}"/>
                </a:ext>
              </a:extLst>
            </p:cNvPr>
            <p:cNvSpPr/>
            <p:nvPr/>
          </p:nvSpPr>
          <p:spPr>
            <a:xfrm>
              <a:off x="-1" y="1666755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A1DCDC4-BEF8-4ECD-B02C-0F4292B78539}"/>
                </a:ext>
              </a:extLst>
            </p:cNvPr>
            <p:cNvSpPr/>
            <p:nvPr/>
          </p:nvSpPr>
          <p:spPr>
            <a:xfrm>
              <a:off x="-1" y="3333510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C032061-5110-48EC-AD27-04F0A5BE57E0}"/>
                </a:ext>
              </a:extLst>
            </p:cNvPr>
            <p:cNvSpPr/>
            <p:nvPr/>
          </p:nvSpPr>
          <p:spPr>
            <a:xfrm>
              <a:off x="-1" y="5000259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B281DB3-17BA-4C19-9640-982AA2DE0F70}"/>
                </a:ext>
              </a:extLst>
            </p:cNvPr>
            <p:cNvSpPr/>
            <p:nvPr/>
          </p:nvSpPr>
          <p:spPr>
            <a:xfrm>
              <a:off x="1666753" y="3333509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00E3650-2AEF-4F8B-9FA4-0D0AD89A1334}"/>
                </a:ext>
              </a:extLst>
            </p:cNvPr>
            <p:cNvSpPr/>
            <p:nvPr/>
          </p:nvSpPr>
          <p:spPr>
            <a:xfrm>
              <a:off x="1666754" y="5000261"/>
              <a:ext cx="1666756" cy="1666751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C2967C5-1894-440B-9C8A-C46039ABB7D3}"/>
                </a:ext>
              </a:extLst>
            </p:cNvPr>
            <p:cNvSpPr/>
            <p:nvPr/>
          </p:nvSpPr>
          <p:spPr>
            <a:xfrm>
              <a:off x="1666754" y="1666754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547C61F-45D2-48FB-B03A-99BC69B97296}"/>
                </a:ext>
              </a:extLst>
            </p:cNvPr>
            <p:cNvSpPr/>
            <p:nvPr/>
          </p:nvSpPr>
          <p:spPr>
            <a:xfrm>
              <a:off x="3333508" y="3333508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6E01EC00-6AB7-45CC-8E80-98B0EDED28C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7005" y="6527247"/>
            <a:ext cx="1094400" cy="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137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3812463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768" y="515970"/>
            <a:ext cx="9447077" cy="335098"/>
          </a:xfrm>
          <a:noFill/>
        </p:spPr>
        <p:txBody>
          <a:bodyPr lIns="36000">
            <a:noAutofit/>
          </a:bodyPr>
          <a:lstStyle>
            <a:lvl1pPr algn="l">
              <a:defRPr sz="2000">
                <a:solidFill>
                  <a:schemeClr val="accent6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30768" y="949199"/>
            <a:ext cx="10943999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</p:spTree>
    <p:extLst>
      <p:ext uri="{BB962C8B-B14F-4D97-AF65-F5344CB8AC3E}">
        <p14:creationId xmlns:p14="http://schemas.microsoft.com/office/powerpoint/2010/main" val="16819794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0051530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768" y="515970"/>
            <a:ext cx="9447077" cy="335098"/>
          </a:xfrm>
          <a:solidFill>
            <a:schemeClr val="bg1"/>
          </a:solidFill>
        </p:spPr>
        <p:txBody>
          <a:bodyPr lIns="36000">
            <a:noAutofit/>
          </a:bodyPr>
          <a:lstStyle>
            <a:lvl1pPr algn="l">
              <a:defRPr sz="2000">
                <a:solidFill>
                  <a:schemeClr val="accent6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30768" y="949199"/>
            <a:ext cx="10943999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</p:spTree>
    <p:extLst>
      <p:ext uri="{BB962C8B-B14F-4D97-AF65-F5344CB8AC3E}">
        <p14:creationId xmlns:p14="http://schemas.microsoft.com/office/powerpoint/2010/main" val="361697216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3587492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picture containing ground&#10;&#10;Description generated with very high confidence">
            <a:extLst>
              <a:ext uri="{FF2B5EF4-FFF2-40B4-BE49-F238E27FC236}">
                <a16:creationId xmlns:a16="http://schemas.microsoft.com/office/drawing/2014/main" id="{DA3EA458-AA1D-4D1E-BC2C-E48A1E036B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768" y="515970"/>
            <a:ext cx="9447077" cy="335098"/>
          </a:xfrm>
          <a:noFill/>
        </p:spPr>
        <p:txBody>
          <a:bodyPr lIns="36000">
            <a:noAutofit/>
          </a:bodyPr>
          <a:lstStyle>
            <a:lvl1pPr algn="l">
              <a:defRPr sz="24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30768" y="949199"/>
            <a:ext cx="10943999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</p:spTree>
    <p:extLst>
      <p:ext uri="{BB962C8B-B14F-4D97-AF65-F5344CB8AC3E}">
        <p14:creationId xmlns:p14="http://schemas.microsoft.com/office/powerpoint/2010/main" val="2580942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9D031-043D-4150-8D51-38680CAB1C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CUSTOM SLID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158995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6515981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28768378-D554-4DA9-B99B-2CCEAB0261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768" y="515970"/>
            <a:ext cx="9447077" cy="335098"/>
          </a:xfrm>
          <a:noFill/>
        </p:spPr>
        <p:txBody>
          <a:bodyPr lIns="36000">
            <a:noAutofit/>
          </a:bodyPr>
          <a:lstStyle>
            <a:lvl1pPr algn="l">
              <a:defRPr sz="24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30768" y="949199"/>
            <a:ext cx="10943999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</p:spTree>
    <p:extLst>
      <p:ext uri="{BB962C8B-B14F-4D97-AF65-F5344CB8AC3E}">
        <p14:creationId xmlns:p14="http://schemas.microsoft.com/office/powerpoint/2010/main" val="389989959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744125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F2C32EA4-7249-49F9-B22A-F8C633554B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764" y="0"/>
            <a:ext cx="12192000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94927" y="515970"/>
            <a:ext cx="9298851" cy="335098"/>
          </a:xfrm>
          <a:noFill/>
        </p:spPr>
        <p:txBody>
          <a:bodyPr lIns="36000">
            <a:noAutofit/>
          </a:bodyPr>
          <a:lstStyle>
            <a:lvl1pPr algn="l">
              <a:defRPr sz="24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05093" y="949199"/>
            <a:ext cx="10772286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</p:spTree>
    <p:extLst>
      <p:ext uri="{BB962C8B-B14F-4D97-AF65-F5344CB8AC3E}">
        <p14:creationId xmlns:p14="http://schemas.microsoft.com/office/powerpoint/2010/main" val="23100402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4531784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A0893F9E-6D33-44D0-9985-BEDE56C123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94927" y="515970"/>
            <a:ext cx="9298851" cy="335098"/>
          </a:xfrm>
          <a:noFill/>
        </p:spPr>
        <p:txBody>
          <a:bodyPr lIns="36000">
            <a:noAutofit/>
          </a:bodyPr>
          <a:lstStyle>
            <a:lvl1pPr algn="l">
              <a:defRPr sz="24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05093" y="949199"/>
            <a:ext cx="10772286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</p:spTree>
    <p:extLst>
      <p:ext uri="{BB962C8B-B14F-4D97-AF65-F5344CB8AC3E}">
        <p14:creationId xmlns:p14="http://schemas.microsoft.com/office/powerpoint/2010/main" val="347282592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9550855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0D5DC9DD-194B-4137-BD85-DD13D333A24C}"/>
              </a:ext>
            </a:extLst>
          </p:cNvPr>
          <p:cNvSpPr/>
          <p:nvPr userDrawn="1"/>
        </p:nvSpPr>
        <p:spPr>
          <a:xfrm>
            <a:off x="0" y="0"/>
            <a:ext cx="12192000" cy="6295292"/>
          </a:xfrm>
          <a:prstGeom prst="rect">
            <a:avLst/>
          </a:prstGeom>
          <a:solidFill>
            <a:schemeClr val="accent3">
              <a:lumMod val="90000"/>
              <a:lumOff val="1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768" y="515970"/>
            <a:ext cx="9447077" cy="335098"/>
          </a:xfrm>
          <a:noFill/>
        </p:spPr>
        <p:txBody>
          <a:bodyPr lIns="36000">
            <a:noAutofit/>
          </a:bodyPr>
          <a:lstStyle>
            <a:lvl1pPr algn="l">
              <a:defRPr sz="24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30768" y="949199"/>
            <a:ext cx="10943999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</p:spTree>
    <p:extLst>
      <p:ext uri="{BB962C8B-B14F-4D97-AF65-F5344CB8AC3E}">
        <p14:creationId xmlns:p14="http://schemas.microsoft.com/office/powerpoint/2010/main" val="281545129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1861031"/>
              </p:ext>
            </p:ext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53071" y="641525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53070" y="6540862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Last Modified 2017-01-31 05:58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53071" y="666647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2016-08-05 09:24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2" y="37257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28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9" y="6540990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82E0F37-3C65-4C18-A05F-E6884FED6CC8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32346" y="6586417"/>
            <a:ext cx="129844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16" baseline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0729FAD-589F-406C-AD34-99A5E40CA7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8341" y="1730365"/>
            <a:ext cx="4596343" cy="2512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32" i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endParaRPr lang="en-ZA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88C14C44-3BCC-4CAC-95BA-93F4D02217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8341" y="702366"/>
            <a:ext cx="2856678" cy="376834"/>
          </a:xfrm>
          <a:prstGeom prst="rect">
            <a:avLst/>
          </a:prstGeom>
          <a:solidFill>
            <a:schemeClr val="accent3">
              <a:lumMod val="90000"/>
              <a:lumOff val="10000"/>
            </a:schemeClr>
          </a:solidFill>
        </p:spPr>
        <p:txBody>
          <a:bodyPr/>
          <a:lstStyle>
            <a:lvl1pPr marL="0" indent="0">
              <a:buNone/>
              <a:defRPr sz="2449" i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add</a:t>
            </a:r>
            <a:endParaRPr lang="en-ZA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17ED0F1-C875-45C4-800B-5C3B379D6216}"/>
              </a:ext>
            </a:extLst>
          </p:cNvPr>
          <p:cNvSpPr/>
          <p:nvPr userDrawn="1"/>
        </p:nvSpPr>
        <p:spPr>
          <a:xfrm>
            <a:off x="8600536" y="6136108"/>
            <a:ext cx="3183145" cy="37683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44ACF4-CC5A-43C2-9632-C25015435F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6233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59310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DAE486E4-0805-4ABD-B60F-151706C8DFED}"/>
              </a:ext>
            </a:extLst>
          </p:cNvPr>
          <p:cNvGrpSpPr/>
          <p:nvPr userDrawn="1"/>
        </p:nvGrpSpPr>
        <p:grpSpPr>
          <a:xfrm flipH="1">
            <a:off x="7045234" y="0"/>
            <a:ext cx="5146765" cy="6857998"/>
            <a:chOff x="-1" y="0"/>
            <a:chExt cx="5000264" cy="6667014"/>
          </a:xfr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F82FFE2-25C8-44D6-9425-2A654F90DAD5}"/>
                </a:ext>
              </a:extLst>
            </p:cNvPr>
            <p:cNvSpPr/>
            <p:nvPr/>
          </p:nvSpPr>
          <p:spPr>
            <a:xfrm>
              <a:off x="-1" y="0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0686882-9CE9-4733-B820-742D2CA0366C}"/>
                </a:ext>
              </a:extLst>
            </p:cNvPr>
            <p:cNvSpPr/>
            <p:nvPr/>
          </p:nvSpPr>
          <p:spPr>
            <a:xfrm>
              <a:off x="-1" y="1666755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8C17C4C-97AF-46F6-BEF8-384A8267D5AE}"/>
                </a:ext>
              </a:extLst>
            </p:cNvPr>
            <p:cNvSpPr/>
            <p:nvPr/>
          </p:nvSpPr>
          <p:spPr>
            <a:xfrm>
              <a:off x="-1" y="3333510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FC4E11F-270F-4A48-B94A-AF76A2A3D310}"/>
                </a:ext>
              </a:extLst>
            </p:cNvPr>
            <p:cNvSpPr/>
            <p:nvPr/>
          </p:nvSpPr>
          <p:spPr>
            <a:xfrm>
              <a:off x="-1" y="5000259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76ED5FF-C814-423B-B164-9839325DA78A}"/>
                </a:ext>
              </a:extLst>
            </p:cNvPr>
            <p:cNvSpPr/>
            <p:nvPr/>
          </p:nvSpPr>
          <p:spPr>
            <a:xfrm>
              <a:off x="1666753" y="3333509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CA3426F-F472-4AF9-81D3-D387B845D813}"/>
                </a:ext>
              </a:extLst>
            </p:cNvPr>
            <p:cNvSpPr/>
            <p:nvPr/>
          </p:nvSpPr>
          <p:spPr>
            <a:xfrm>
              <a:off x="1666754" y="5000261"/>
              <a:ext cx="1666756" cy="1666751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7DD0278-EDCD-41A3-8641-8DA623E8A1CD}"/>
                </a:ext>
              </a:extLst>
            </p:cNvPr>
            <p:cNvSpPr/>
            <p:nvPr/>
          </p:nvSpPr>
          <p:spPr>
            <a:xfrm>
              <a:off x="1666754" y="1666754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9CA0524-A3DF-44C2-BD9E-EB0CA90C32AC}"/>
                </a:ext>
              </a:extLst>
            </p:cNvPr>
            <p:cNvSpPr/>
            <p:nvPr/>
          </p:nvSpPr>
          <p:spPr>
            <a:xfrm>
              <a:off x="3333508" y="3333508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6182744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1">
            <a:extLst>
              <a:ext uri="{FF2B5EF4-FFF2-40B4-BE49-F238E27FC236}">
                <a16:creationId xmlns:a16="http://schemas.microsoft.com/office/drawing/2014/main" id="{9D45D07A-587A-4B3C-B1E2-A6E1DB39FA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308093"/>
            <a:ext cx="10915954" cy="282216"/>
          </a:xfrm>
          <a:noFill/>
        </p:spPr>
        <p:txBody>
          <a:bodyPr lIns="36000">
            <a:noAutofit/>
          </a:bodyPr>
          <a:lstStyle>
            <a:lvl1pPr algn="l">
              <a:defRPr lang="en-US" sz="2400" b="0" baseline="0" dirty="0">
                <a:solidFill>
                  <a:srgbClr val="303333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21DEDC5-7A71-4507-96EF-A5542C37178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4300" y="6529619"/>
            <a:ext cx="1094400" cy="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3614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608878"/>
              </p:ext>
            </p:ext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 userDrawn="1"/>
        </p:nvSpPr>
        <p:spPr>
          <a:xfrm>
            <a:off x="2771428" y="6355873"/>
            <a:ext cx="8881437" cy="382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03"/>
            <a:r>
              <a:rPr lang="en-US" sz="918" dirty="0">
                <a:latin typeface="Segoe UI" panose="020B0502040204020203" pitchFamily="34" charset="0"/>
                <a:sym typeface="Segoe UI" panose="020B0502040204020203" pitchFamily="34" charset="0"/>
              </a:rPr>
              <a:t>CONFIDENTIAL AND PROPRIETARY </a:t>
            </a:r>
            <a:br>
              <a:rPr lang="en-US" sz="918" dirty="0">
                <a:latin typeface="Segoe UI" panose="020B0502040204020203" pitchFamily="34" charset="0"/>
                <a:sym typeface="Segoe UI" panose="020B0502040204020203" pitchFamily="34" charset="0"/>
              </a:rPr>
            </a:br>
            <a:r>
              <a:rPr lang="en-US" sz="918" dirty="0">
                <a:latin typeface="Segoe UI" panose="020B0502040204020203" pitchFamily="34" charset="0"/>
                <a:sym typeface="Segoe UI" panose="020B0502040204020203" pitchFamily="34" charset="0"/>
              </a:rPr>
              <a:t>Any use of this material without the permission of Letsema is strictly prohibited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A888493-B9AD-4E71-9676-73CC59E471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53071" y="641525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53070" y="6540862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Last Modified 2017-01-31 05:58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53071" y="666647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2016-08-05 09:24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2" y="37257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28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9" y="6540990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5DEEE08-7C00-4ADC-8092-2248789EC7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038927" y="3329703"/>
            <a:ext cx="2241751" cy="30777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i="0">
                <a:solidFill>
                  <a:schemeClr val="bg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endParaRPr lang="en-ZA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1C9452F-1984-4FEE-885B-B747D56C624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89658" y="3238471"/>
            <a:ext cx="2857899" cy="381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85593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5730746"/>
              </p:ext>
            </p:ext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 userDrawn="1"/>
        </p:nvSpPr>
        <p:spPr>
          <a:xfrm>
            <a:off x="2771428" y="6355873"/>
            <a:ext cx="8881437" cy="382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03"/>
            <a:r>
              <a:rPr lang="en-US" sz="918" dirty="0">
                <a:latin typeface="Segoe UI" panose="020B0502040204020203" pitchFamily="34" charset="0"/>
                <a:sym typeface="Segoe UI" panose="020B0502040204020203" pitchFamily="34" charset="0"/>
              </a:rPr>
              <a:t>CONFIDENTIAL AND PROPRIETARY </a:t>
            </a:r>
            <a:br>
              <a:rPr lang="en-US" sz="918" dirty="0">
                <a:latin typeface="Segoe UI" panose="020B0502040204020203" pitchFamily="34" charset="0"/>
                <a:sym typeface="Segoe UI" panose="020B0502040204020203" pitchFamily="34" charset="0"/>
              </a:rPr>
            </a:br>
            <a:r>
              <a:rPr lang="en-US" sz="918" dirty="0">
                <a:latin typeface="Segoe UI" panose="020B0502040204020203" pitchFamily="34" charset="0"/>
                <a:sym typeface="Segoe UI" panose="020B0502040204020203" pitchFamily="34" charset="0"/>
              </a:rPr>
              <a:t>Any use of this material without the permission of Letsema is strictly prohibited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A888493-B9AD-4E71-9676-73CC59E471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53071" y="641525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53070" y="6540862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Last Modified 2017-01-31 05:58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53071" y="666647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2016-08-05 09:24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2" y="37257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28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9" y="6540990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83276561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9050376"/>
              </p:ext>
            </p:ext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53071" y="641525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53070" y="6540862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Last Modified 2017-01-31 05:58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53071" y="666647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2016-08-05 09:24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2" y="37257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28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9" y="6540990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82E0F37-3C65-4C18-A05F-E6884FED6CC8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32346" y="6586417"/>
            <a:ext cx="129844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16" baseline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6922CA3-BBC2-4E1D-B1D1-FAAD72080EEA}"/>
              </a:ext>
            </a:extLst>
          </p:cNvPr>
          <p:cNvSpPr/>
          <p:nvPr userDrawn="1"/>
        </p:nvSpPr>
        <p:spPr>
          <a:xfrm>
            <a:off x="2" y="0"/>
            <a:ext cx="6629396" cy="6858000"/>
          </a:xfrm>
          <a:prstGeom prst="rect">
            <a:avLst/>
          </a:prstGeom>
          <a:solidFill>
            <a:schemeClr val="accent3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428" b="1" dirty="0">
              <a:solidFill>
                <a:schemeClr val="bg1"/>
              </a:solidFill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0729FAD-589F-406C-AD34-99A5E40CA7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567" y="2315156"/>
            <a:ext cx="4596343" cy="2512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32" i="0">
                <a:solidFill>
                  <a:schemeClr val="accent3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endParaRPr lang="en-ZA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88C14C44-3BCC-4CAC-95BA-93F4D02217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567" y="1287157"/>
            <a:ext cx="2856678" cy="376834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2449" i="0">
                <a:solidFill>
                  <a:schemeClr val="accent6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add</a:t>
            </a:r>
            <a:endParaRPr lang="en-ZA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5CB3CA-0D7B-4B3F-9A21-4D84F8F944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 rot="10800000" flipH="1">
            <a:off x="8851392" y="3242"/>
            <a:ext cx="3343578" cy="5474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2890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541553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768" y="515970"/>
            <a:ext cx="9447077" cy="335098"/>
          </a:xfrm>
          <a:solidFill>
            <a:schemeClr val="bg1"/>
          </a:solidFill>
        </p:spPr>
        <p:txBody>
          <a:bodyPr lIns="36000">
            <a:noAutofit/>
          </a:bodyPr>
          <a:lstStyle>
            <a:lvl1pPr algn="l">
              <a:defRPr sz="2000">
                <a:solidFill>
                  <a:schemeClr val="accent6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30768" y="949199"/>
            <a:ext cx="10943999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148230C-FC63-4FD4-B1D0-C4539887B2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0768" y="1721976"/>
            <a:ext cx="10943999" cy="4678825"/>
          </a:xfrm>
          <a:prstGeom prst="rect">
            <a:avLst/>
          </a:prstGeom>
        </p:spPr>
        <p:txBody>
          <a:bodyPr vert="horz" wrap="square" lIns="36000" tIns="0" rIns="0" bIns="0" rtlCol="0">
            <a:noAutofit/>
          </a:bodyPr>
          <a:lstStyle>
            <a:lvl1pPr marL="92075" indent="-92075">
              <a:tabLst>
                <a:tab pos="92075" algn="l"/>
              </a:tabLst>
              <a:defRPr sz="120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1pPr>
            <a:lvl2pPr>
              <a:defRPr lang="en-US" sz="1200" dirty="0" smtClean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2pPr>
            <a:lvl3pPr>
              <a:defRPr lang="en-US" sz="1200" dirty="0" smtClean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3pPr>
            <a:lvl4pPr>
              <a:defRPr lang="en-US" sz="1200" dirty="0" smtClean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4pPr>
            <a:lvl5pPr>
              <a:defRPr lang="en-GB" dirty="0">
                <a:solidFill>
                  <a:schemeClr val="accent3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First level bulle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  <a:p>
            <a:pPr lvl="3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34092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F89E258-1D79-4E25-B592-51F1147856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9941" y="356990"/>
            <a:ext cx="9145218" cy="661832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SLIDE TITLE GOES HERE</a:t>
            </a:r>
            <a:br>
              <a:rPr lang="en-US" dirty="0"/>
            </a:br>
            <a:r>
              <a:rPr lang="en-US" dirty="0"/>
              <a:t>ON TWO LINES IF NECESSARY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7644EA8-7028-42E5-833F-BAD05B8F4B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8328" y="1201381"/>
            <a:ext cx="11055343" cy="5299629"/>
          </a:xfrm>
          <a:prstGeom prst="rect">
            <a:avLst/>
          </a:prstGeom>
        </p:spPr>
        <p:txBody>
          <a:bodyPr vert="horz" lIns="36000" tIns="18000" rIns="0" bIns="18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9" name="object 11">
            <a:extLst>
              <a:ext uri="{FF2B5EF4-FFF2-40B4-BE49-F238E27FC236}">
                <a16:creationId xmlns:a16="http://schemas.microsoft.com/office/drawing/2014/main" id="{235ED689-9638-443C-9A10-E043942A6629}"/>
              </a:ext>
            </a:extLst>
          </p:cNvPr>
          <p:cNvSpPr/>
          <p:nvPr userDrawn="1"/>
        </p:nvSpPr>
        <p:spPr>
          <a:xfrm>
            <a:off x="620851" y="6136760"/>
            <a:ext cx="166575" cy="294959"/>
          </a:xfrm>
          <a:custGeom>
            <a:avLst/>
            <a:gdLst/>
            <a:ahLst/>
            <a:cxnLst/>
            <a:rect l="l" t="t" r="r" b="b"/>
            <a:pathLst>
              <a:path w="281305" h="486409">
                <a:moveTo>
                  <a:pt x="0" y="486404"/>
                </a:moveTo>
                <a:lnTo>
                  <a:pt x="281038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0972146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6764069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768" y="515970"/>
            <a:ext cx="9447077" cy="335098"/>
          </a:xfrm>
          <a:solidFill>
            <a:schemeClr val="bg1"/>
          </a:solidFill>
        </p:spPr>
        <p:txBody>
          <a:bodyPr lIns="36000">
            <a:noAutofit/>
          </a:bodyPr>
          <a:lstStyle>
            <a:lvl1pPr algn="l">
              <a:defRPr sz="2000">
                <a:solidFill>
                  <a:schemeClr val="accent6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30768" y="949199"/>
            <a:ext cx="10943999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148230C-FC63-4FD4-B1D0-C4539887B2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0768" y="1721976"/>
            <a:ext cx="10943999" cy="4678825"/>
          </a:xfrm>
          <a:prstGeom prst="rect">
            <a:avLst/>
          </a:prstGeom>
        </p:spPr>
        <p:txBody>
          <a:bodyPr vert="horz" wrap="square" lIns="36000" tIns="0" rIns="0" bIns="0" rtlCol="0">
            <a:noAutofit/>
          </a:bodyPr>
          <a:lstStyle>
            <a:lvl1pPr marL="92075" indent="-92075">
              <a:tabLst>
                <a:tab pos="92075" algn="l"/>
              </a:tabLst>
              <a:defRPr sz="120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1pPr>
            <a:lvl2pPr>
              <a:defRPr lang="en-US" sz="1200" dirty="0" smtClean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2pPr>
            <a:lvl3pPr>
              <a:defRPr lang="en-US" sz="1200" dirty="0" smtClean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3pPr>
            <a:lvl4pPr>
              <a:defRPr lang="en-US" sz="1200" dirty="0" smtClean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4pPr>
            <a:lvl5pPr>
              <a:defRPr lang="en-GB" dirty="0">
                <a:solidFill>
                  <a:schemeClr val="accent3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First level bulle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  <a:p>
            <a:pPr lvl="3"/>
            <a:r>
              <a:rPr lang="en-US"/>
              <a:t>Fourth level bulle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9B224F6-9AD1-48BD-B4A4-CE7EFEE8D136}"/>
              </a:ext>
            </a:extLst>
          </p:cNvPr>
          <p:cNvGrpSpPr/>
          <p:nvPr userDrawn="1"/>
        </p:nvGrpSpPr>
        <p:grpSpPr>
          <a:xfrm flipH="1">
            <a:off x="7045234" y="0"/>
            <a:ext cx="5146765" cy="6857998"/>
            <a:chOff x="-1" y="0"/>
            <a:chExt cx="5000264" cy="666701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DE9E0CF-6556-4341-B41E-8A7C44D04501}"/>
                </a:ext>
              </a:extLst>
            </p:cNvPr>
            <p:cNvSpPr/>
            <p:nvPr/>
          </p:nvSpPr>
          <p:spPr>
            <a:xfrm>
              <a:off x="-1" y="0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257DA10-423B-4B01-8FCE-E451DB77135E}"/>
                </a:ext>
              </a:extLst>
            </p:cNvPr>
            <p:cNvSpPr/>
            <p:nvPr/>
          </p:nvSpPr>
          <p:spPr>
            <a:xfrm>
              <a:off x="-1" y="1666755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A1DCDC4-BEF8-4ECD-B02C-0F4292B78539}"/>
                </a:ext>
              </a:extLst>
            </p:cNvPr>
            <p:cNvSpPr/>
            <p:nvPr/>
          </p:nvSpPr>
          <p:spPr>
            <a:xfrm>
              <a:off x="-1" y="3333510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C032061-5110-48EC-AD27-04F0A5BE57E0}"/>
                </a:ext>
              </a:extLst>
            </p:cNvPr>
            <p:cNvSpPr/>
            <p:nvPr/>
          </p:nvSpPr>
          <p:spPr>
            <a:xfrm>
              <a:off x="-1" y="5000259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B281DB3-17BA-4C19-9640-982AA2DE0F70}"/>
                </a:ext>
              </a:extLst>
            </p:cNvPr>
            <p:cNvSpPr/>
            <p:nvPr/>
          </p:nvSpPr>
          <p:spPr>
            <a:xfrm>
              <a:off x="1666753" y="3333509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00E3650-2AEF-4F8B-9FA4-0D0AD89A1334}"/>
                </a:ext>
              </a:extLst>
            </p:cNvPr>
            <p:cNvSpPr/>
            <p:nvPr/>
          </p:nvSpPr>
          <p:spPr>
            <a:xfrm>
              <a:off x="1666754" y="5000261"/>
              <a:ext cx="1666756" cy="1666751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C2967C5-1894-440B-9C8A-C46039ABB7D3}"/>
                </a:ext>
              </a:extLst>
            </p:cNvPr>
            <p:cNvSpPr/>
            <p:nvPr/>
          </p:nvSpPr>
          <p:spPr>
            <a:xfrm>
              <a:off x="1666754" y="1666754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547C61F-45D2-48FB-B03A-99BC69B97296}"/>
                </a:ext>
              </a:extLst>
            </p:cNvPr>
            <p:cNvSpPr/>
            <p:nvPr/>
          </p:nvSpPr>
          <p:spPr>
            <a:xfrm>
              <a:off x="3333508" y="3333508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6E01EC00-6AB7-45CC-8E80-98B0EDED28C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7005" y="6527247"/>
            <a:ext cx="1094400" cy="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10488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3741745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768" y="515970"/>
            <a:ext cx="9447077" cy="335098"/>
          </a:xfrm>
          <a:noFill/>
        </p:spPr>
        <p:txBody>
          <a:bodyPr lIns="36000">
            <a:noAutofit/>
          </a:bodyPr>
          <a:lstStyle>
            <a:lvl1pPr algn="l">
              <a:defRPr sz="2000">
                <a:solidFill>
                  <a:schemeClr val="accent6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30768" y="949199"/>
            <a:ext cx="10943999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</p:spTree>
    <p:extLst>
      <p:ext uri="{BB962C8B-B14F-4D97-AF65-F5344CB8AC3E}">
        <p14:creationId xmlns:p14="http://schemas.microsoft.com/office/powerpoint/2010/main" val="361597318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6546595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768" y="515970"/>
            <a:ext cx="9447077" cy="335098"/>
          </a:xfrm>
          <a:solidFill>
            <a:schemeClr val="bg1"/>
          </a:solidFill>
        </p:spPr>
        <p:txBody>
          <a:bodyPr lIns="36000">
            <a:noAutofit/>
          </a:bodyPr>
          <a:lstStyle>
            <a:lvl1pPr algn="l">
              <a:defRPr sz="2000">
                <a:solidFill>
                  <a:schemeClr val="accent6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30768" y="949199"/>
            <a:ext cx="10943999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</p:spTree>
    <p:extLst>
      <p:ext uri="{BB962C8B-B14F-4D97-AF65-F5344CB8AC3E}">
        <p14:creationId xmlns:p14="http://schemas.microsoft.com/office/powerpoint/2010/main" val="69240474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2294543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picture containing ground&#10;&#10;Description generated with very high confidence">
            <a:extLst>
              <a:ext uri="{FF2B5EF4-FFF2-40B4-BE49-F238E27FC236}">
                <a16:creationId xmlns:a16="http://schemas.microsoft.com/office/drawing/2014/main" id="{DA3EA458-AA1D-4D1E-BC2C-E48A1E036B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768" y="515970"/>
            <a:ext cx="9447077" cy="335098"/>
          </a:xfrm>
          <a:noFill/>
        </p:spPr>
        <p:txBody>
          <a:bodyPr lIns="36000">
            <a:noAutofit/>
          </a:bodyPr>
          <a:lstStyle>
            <a:lvl1pPr algn="l">
              <a:defRPr sz="24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30768" y="949199"/>
            <a:ext cx="10943999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</p:spTree>
    <p:extLst>
      <p:ext uri="{BB962C8B-B14F-4D97-AF65-F5344CB8AC3E}">
        <p14:creationId xmlns:p14="http://schemas.microsoft.com/office/powerpoint/2010/main" val="302832640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8793776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28768378-D554-4DA9-B99B-2CCEAB0261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768" y="515970"/>
            <a:ext cx="9447077" cy="335098"/>
          </a:xfrm>
          <a:noFill/>
        </p:spPr>
        <p:txBody>
          <a:bodyPr lIns="36000">
            <a:noAutofit/>
          </a:bodyPr>
          <a:lstStyle>
            <a:lvl1pPr algn="l">
              <a:defRPr sz="24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30768" y="949199"/>
            <a:ext cx="10943999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</p:spTree>
    <p:extLst>
      <p:ext uri="{BB962C8B-B14F-4D97-AF65-F5344CB8AC3E}">
        <p14:creationId xmlns:p14="http://schemas.microsoft.com/office/powerpoint/2010/main" val="22819912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4175214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F2C32EA4-7249-49F9-B22A-F8C633554B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764" y="0"/>
            <a:ext cx="12192000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94927" y="515970"/>
            <a:ext cx="9298851" cy="335098"/>
          </a:xfrm>
          <a:noFill/>
        </p:spPr>
        <p:txBody>
          <a:bodyPr lIns="36000">
            <a:noAutofit/>
          </a:bodyPr>
          <a:lstStyle>
            <a:lvl1pPr algn="l">
              <a:defRPr sz="24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05093" y="949199"/>
            <a:ext cx="10772286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</p:spTree>
    <p:extLst>
      <p:ext uri="{BB962C8B-B14F-4D97-AF65-F5344CB8AC3E}">
        <p14:creationId xmlns:p14="http://schemas.microsoft.com/office/powerpoint/2010/main" val="87473145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0037292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A0893F9E-6D33-44D0-9985-BEDE56C123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94927" y="515970"/>
            <a:ext cx="9298851" cy="335098"/>
          </a:xfrm>
          <a:noFill/>
        </p:spPr>
        <p:txBody>
          <a:bodyPr lIns="36000">
            <a:noAutofit/>
          </a:bodyPr>
          <a:lstStyle>
            <a:lvl1pPr algn="l">
              <a:defRPr sz="24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05093" y="949199"/>
            <a:ext cx="10772286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</p:spTree>
    <p:extLst>
      <p:ext uri="{BB962C8B-B14F-4D97-AF65-F5344CB8AC3E}">
        <p14:creationId xmlns:p14="http://schemas.microsoft.com/office/powerpoint/2010/main" val="373301178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5934872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0D5DC9DD-194B-4137-BD85-DD13D333A24C}"/>
              </a:ext>
            </a:extLst>
          </p:cNvPr>
          <p:cNvSpPr/>
          <p:nvPr userDrawn="1"/>
        </p:nvSpPr>
        <p:spPr>
          <a:xfrm>
            <a:off x="0" y="0"/>
            <a:ext cx="12192000" cy="6295292"/>
          </a:xfrm>
          <a:prstGeom prst="rect">
            <a:avLst/>
          </a:prstGeom>
          <a:solidFill>
            <a:schemeClr val="accent3">
              <a:lumMod val="90000"/>
              <a:lumOff val="1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768" y="515970"/>
            <a:ext cx="9447077" cy="335098"/>
          </a:xfrm>
          <a:noFill/>
        </p:spPr>
        <p:txBody>
          <a:bodyPr lIns="36000">
            <a:noAutofit/>
          </a:bodyPr>
          <a:lstStyle>
            <a:lvl1pPr algn="l">
              <a:defRPr sz="24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30768" y="949199"/>
            <a:ext cx="10943999" cy="646331"/>
          </a:xfrm>
        </p:spPr>
        <p:txBody>
          <a:bodyPr lIns="36000"/>
          <a:lstStyle>
            <a:lvl1pPr marL="0" marR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3E59"/>
              </a:buClr>
              <a:buSzPct val="100000"/>
              <a:buFontTx/>
              <a:buNone/>
              <a:tabLst/>
              <a:defRPr/>
            </a:pPr>
            <a:r>
              <a:rPr lang="en-ZA"/>
              <a:t>Click to insert sub-title</a:t>
            </a:r>
          </a:p>
        </p:txBody>
      </p:sp>
    </p:spTree>
    <p:extLst>
      <p:ext uri="{BB962C8B-B14F-4D97-AF65-F5344CB8AC3E}">
        <p14:creationId xmlns:p14="http://schemas.microsoft.com/office/powerpoint/2010/main" val="286403326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36603"/>
              </p:ext>
            </p:ext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53071" y="641525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53070" y="6540862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Last Modified 2017-01-31 05:58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53071" y="666647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2016-08-05 09:24 AM South Afric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2" y="37257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28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9" y="6540990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82E0F37-3C65-4C18-A05F-E6884FED6CC8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32346" y="6586417"/>
            <a:ext cx="129844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16" baseline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0729FAD-589F-406C-AD34-99A5E40CA7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8341" y="1730365"/>
            <a:ext cx="4596343" cy="2512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32" i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endParaRPr lang="en-ZA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88C14C44-3BCC-4CAC-95BA-93F4D02217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8341" y="702366"/>
            <a:ext cx="2856678" cy="376834"/>
          </a:xfrm>
          <a:prstGeom prst="rect">
            <a:avLst/>
          </a:prstGeom>
          <a:solidFill>
            <a:schemeClr val="accent3">
              <a:lumMod val="90000"/>
              <a:lumOff val="10000"/>
            </a:schemeClr>
          </a:solidFill>
        </p:spPr>
        <p:txBody>
          <a:bodyPr/>
          <a:lstStyle>
            <a:lvl1pPr marL="0" indent="0">
              <a:buNone/>
              <a:defRPr sz="2449" i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add</a:t>
            </a:r>
            <a:endParaRPr lang="en-ZA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17ED0F1-C875-45C4-800B-5C3B379D6216}"/>
              </a:ext>
            </a:extLst>
          </p:cNvPr>
          <p:cNvSpPr/>
          <p:nvPr userDrawn="1"/>
        </p:nvSpPr>
        <p:spPr>
          <a:xfrm>
            <a:off x="8600536" y="6136108"/>
            <a:ext cx="3183145" cy="37683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44ACF4-CC5A-43C2-9632-C25015435F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6233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10006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DAE486E4-0805-4ABD-B60F-151706C8DFED}"/>
              </a:ext>
            </a:extLst>
          </p:cNvPr>
          <p:cNvGrpSpPr/>
          <p:nvPr userDrawn="1"/>
        </p:nvGrpSpPr>
        <p:grpSpPr>
          <a:xfrm flipH="1">
            <a:off x="7045234" y="0"/>
            <a:ext cx="5146765" cy="6857998"/>
            <a:chOff x="-1" y="0"/>
            <a:chExt cx="5000264" cy="6667014"/>
          </a:xfr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F82FFE2-25C8-44D6-9425-2A654F90DAD5}"/>
                </a:ext>
              </a:extLst>
            </p:cNvPr>
            <p:cNvSpPr/>
            <p:nvPr/>
          </p:nvSpPr>
          <p:spPr>
            <a:xfrm>
              <a:off x="-1" y="0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0686882-9CE9-4733-B820-742D2CA0366C}"/>
                </a:ext>
              </a:extLst>
            </p:cNvPr>
            <p:cNvSpPr/>
            <p:nvPr/>
          </p:nvSpPr>
          <p:spPr>
            <a:xfrm>
              <a:off x="-1" y="1666755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8C17C4C-97AF-46F6-BEF8-384A8267D5AE}"/>
                </a:ext>
              </a:extLst>
            </p:cNvPr>
            <p:cNvSpPr/>
            <p:nvPr/>
          </p:nvSpPr>
          <p:spPr>
            <a:xfrm>
              <a:off x="-1" y="3333510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FC4E11F-270F-4A48-B94A-AF76A2A3D310}"/>
                </a:ext>
              </a:extLst>
            </p:cNvPr>
            <p:cNvSpPr/>
            <p:nvPr/>
          </p:nvSpPr>
          <p:spPr>
            <a:xfrm>
              <a:off x="-1" y="5000259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76ED5FF-C814-423B-B164-9839325DA78A}"/>
                </a:ext>
              </a:extLst>
            </p:cNvPr>
            <p:cNvSpPr/>
            <p:nvPr/>
          </p:nvSpPr>
          <p:spPr>
            <a:xfrm>
              <a:off x="1666753" y="3333509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CA3426F-F472-4AF9-81D3-D387B845D813}"/>
                </a:ext>
              </a:extLst>
            </p:cNvPr>
            <p:cNvSpPr/>
            <p:nvPr/>
          </p:nvSpPr>
          <p:spPr>
            <a:xfrm>
              <a:off x="1666754" y="5000261"/>
              <a:ext cx="1666756" cy="1666751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7DD0278-EDCD-41A3-8641-8DA623E8A1CD}"/>
                </a:ext>
              </a:extLst>
            </p:cNvPr>
            <p:cNvSpPr/>
            <p:nvPr/>
          </p:nvSpPr>
          <p:spPr>
            <a:xfrm>
              <a:off x="1666754" y="1666754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9CA0524-A3DF-44C2-BD9E-EB0CA90C32AC}"/>
                </a:ext>
              </a:extLst>
            </p:cNvPr>
            <p:cNvSpPr/>
            <p:nvPr/>
          </p:nvSpPr>
          <p:spPr>
            <a:xfrm>
              <a:off x="3333508" y="3333508"/>
              <a:ext cx="1666755" cy="1666755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4579251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1">
            <a:extLst>
              <a:ext uri="{FF2B5EF4-FFF2-40B4-BE49-F238E27FC236}">
                <a16:creationId xmlns:a16="http://schemas.microsoft.com/office/drawing/2014/main" id="{9D45D07A-587A-4B3C-B1E2-A6E1DB39FA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308093"/>
            <a:ext cx="10915954" cy="282216"/>
          </a:xfrm>
          <a:noFill/>
        </p:spPr>
        <p:txBody>
          <a:bodyPr lIns="36000">
            <a:noAutofit/>
          </a:bodyPr>
          <a:lstStyle>
            <a:lvl1pPr algn="l">
              <a:defRPr lang="en-US" sz="2400" b="0" baseline="0" dirty="0">
                <a:solidFill>
                  <a:srgbClr val="303333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insert slide title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21DEDC5-7A71-4507-96EF-A5542C37178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4300" y="6529619"/>
            <a:ext cx="1094400" cy="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4982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bject 2">
            <a:extLst>
              <a:ext uri="{FF2B5EF4-FFF2-40B4-BE49-F238E27FC236}">
                <a16:creationId xmlns:a16="http://schemas.microsoft.com/office/drawing/2014/main" id="{9673ADB8-E5D1-124A-8C4A-2DD75998A228}"/>
              </a:ext>
            </a:extLst>
          </p:cNvPr>
          <p:cNvSpPr/>
          <p:nvPr userDrawn="1"/>
        </p:nvSpPr>
        <p:spPr>
          <a:xfrm>
            <a:off x="1" y="0"/>
            <a:ext cx="12191999" cy="6857519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DCE2317-9465-B44C-889D-A5E7352B42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81"/>
            <a:ext cx="12192000" cy="6857519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CE58E494-1C6C-6048-95A4-E67DC56D17E1}"/>
              </a:ext>
            </a:extLst>
          </p:cNvPr>
          <p:cNvGrpSpPr/>
          <p:nvPr userDrawn="1"/>
        </p:nvGrpSpPr>
        <p:grpSpPr>
          <a:xfrm>
            <a:off x="8986233" y="302269"/>
            <a:ext cx="2774642" cy="1163669"/>
            <a:chOff x="14817924" y="781197"/>
            <a:chExt cx="4575269" cy="1918977"/>
          </a:xfrm>
        </p:grpSpPr>
        <p:sp>
          <p:nvSpPr>
            <p:cNvPr id="6" name="object 6">
              <a:extLst>
                <a:ext uri="{FF2B5EF4-FFF2-40B4-BE49-F238E27FC236}">
                  <a16:creationId xmlns:a16="http://schemas.microsoft.com/office/drawing/2014/main" id="{988D07A3-0940-0A42-8A69-CD338296E901}"/>
                </a:ext>
              </a:extLst>
            </p:cNvPr>
            <p:cNvSpPr/>
            <p:nvPr/>
          </p:nvSpPr>
          <p:spPr>
            <a:xfrm>
              <a:off x="14817924" y="2494651"/>
              <a:ext cx="87452" cy="154822"/>
            </a:xfrm>
            <a:prstGeom prst="rect">
              <a:avLst/>
            </a:prstGeom>
            <a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7" name="object 7">
              <a:extLst>
                <a:ext uri="{FF2B5EF4-FFF2-40B4-BE49-F238E27FC236}">
                  <a16:creationId xmlns:a16="http://schemas.microsoft.com/office/drawing/2014/main" id="{30B6986F-75AA-4742-977C-6A4BC896B03F}"/>
                </a:ext>
              </a:extLst>
            </p:cNvPr>
            <p:cNvSpPr/>
            <p:nvPr/>
          </p:nvSpPr>
          <p:spPr>
            <a:xfrm>
              <a:off x="14931724" y="2542744"/>
              <a:ext cx="85630" cy="106719"/>
            </a:xfrm>
            <a:prstGeom prst="rect">
              <a:avLst/>
            </a:prstGeom>
            <a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8" name="object 8">
              <a:extLst>
                <a:ext uri="{FF2B5EF4-FFF2-40B4-BE49-F238E27FC236}">
                  <a16:creationId xmlns:a16="http://schemas.microsoft.com/office/drawing/2014/main" id="{831D4405-7C33-EE49-83D0-0DFBF1B03A36}"/>
                </a:ext>
              </a:extLst>
            </p:cNvPr>
            <p:cNvSpPr/>
            <p:nvPr/>
          </p:nvSpPr>
          <p:spPr>
            <a:xfrm>
              <a:off x="15096148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790" y="48082"/>
                  </a:lnTo>
                  <a:lnTo>
                    <a:pt x="3790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14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14" y="28417"/>
                  </a:lnTo>
                  <a:lnTo>
                    <a:pt x="28407" y="22104"/>
                  </a:lnTo>
                  <a:lnTo>
                    <a:pt x="28407" y="6272"/>
                  </a:lnTo>
                  <a:lnTo>
                    <a:pt x="2211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9" name="object 9">
              <a:extLst>
                <a:ext uri="{FF2B5EF4-FFF2-40B4-BE49-F238E27FC236}">
                  <a16:creationId xmlns:a16="http://schemas.microsoft.com/office/drawing/2014/main" id="{F10C3FDC-3B9C-F943-A57A-8203A4553305}"/>
                </a:ext>
              </a:extLst>
            </p:cNvPr>
            <p:cNvSpPr/>
            <p:nvPr/>
          </p:nvSpPr>
          <p:spPr>
            <a:xfrm>
              <a:off x="16034821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821" y="48082"/>
                  </a:lnTo>
                  <a:lnTo>
                    <a:pt x="3821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24" y="0"/>
                  </a:moveTo>
                  <a:lnTo>
                    <a:pt x="629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293" y="28417"/>
                  </a:lnTo>
                  <a:lnTo>
                    <a:pt x="22124" y="28417"/>
                  </a:lnTo>
                  <a:lnTo>
                    <a:pt x="28428" y="22104"/>
                  </a:lnTo>
                  <a:lnTo>
                    <a:pt x="28428" y="6272"/>
                  </a:lnTo>
                  <a:lnTo>
                    <a:pt x="221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0" name="object 10">
              <a:extLst>
                <a:ext uri="{FF2B5EF4-FFF2-40B4-BE49-F238E27FC236}">
                  <a16:creationId xmlns:a16="http://schemas.microsoft.com/office/drawing/2014/main" id="{6DC94C29-8843-4A4F-882E-11F5742BDC36}"/>
                </a:ext>
              </a:extLst>
            </p:cNvPr>
            <p:cNvSpPr/>
            <p:nvPr/>
          </p:nvSpPr>
          <p:spPr>
            <a:xfrm>
              <a:off x="16678738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292" y="48082"/>
                  </a:moveTo>
                  <a:lnTo>
                    <a:pt x="3790" y="48082"/>
                  </a:lnTo>
                  <a:lnTo>
                    <a:pt x="3790" y="149524"/>
                  </a:lnTo>
                  <a:lnTo>
                    <a:pt x="24292" y="149524"/>
                  </a:lnTo>
                  <a:lnTo>
                    <a:pt x="24292" y="48082"/>
                  </a:lnTo>
                  <a:close/>
                </a:path>
                <a:path w="28575" h="149860">
                  <a:moveTo>
                    <a:pt x="22104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04" y="28417"/>
                  </a:lnTo>
                  <a:lnTo>
                    <a:pt x="28397" y="22104"/>
                  </a:lnTo>
                  <a:lnTo>
                    <a:pt x="28397" y="6272"/>
                  </a:lnTo>
                  <a:lnTo>
                    <a:pt x="2210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1" name="object 11">
              <a:extLst>
                <a:ext uri="{FF2B5EF4-FFF2-40B4-BE49-F238E27FC236}">
                  <a16:creationId xmlns:a16="http://schemas.microsoft.com/office/drawing/2014/main" id="{7D8BD669-B8D4-7848-80E7-1C8D4904BAED}"/>
                </a:ext>
              </a:extLst>
            </p:cNvPr>
            <p:cNvSpPr/>
            <p:nvPr/>
          </p:nvSpPr>
          <p:spPr>
            <a:xfrm>
              <a:off x="15443530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800" y="48082"/>
                  </a:lnTo>
                  <a:lnTo>
                    <a:pt x="3800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35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35" y="28417"/>
                  </a:lnTo>
                  <a:lnTo>
                    <a:pt x="28417" y="22104"/>
                  </a:lnTo>
                  <a:lnTo>
                    <a:pt x="28417" y="6272"/>
                  </a:lnTo>
                  <a:lnTo>
                    <a:pt x="2213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2" name="object 12">
              <a:extLst>
                <a:ext uri="{FF2B5EF4-FFF2-40B4-BE49-F238E27FC236}">
                  <a16:creationId xmlns:a16="http://schemas.microsoft.com/office/drawing/2014/main" id="{989DAB23-E9EF-C14F-B9C4-929E36182A25}"/>
                </a:ext>
              </a:extLst>
            </p:cNvPr>
            <p:cNvSpPr/>
            <p:nvPr/>
          </p:nvSpPr>
          <p:spPr>
            <a:xfrm>
              <a:off x="15144446" y="2542744"/>
              <a:ext cx="192678" cy="106719"/>
            </a:xfrm>
            <a:prstGeom prst="rect">
              <a:avLst/>
            </a:prstGeom>
            <a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3" name="object 13">
              <a:extLst>
                <a:ext uri="{FF2B5EF4-FFF2-40B4-BE49-F238E27FC236}">
                  <a16:creationId xmlns:a16="http://schemas.microsoft.com/office/drawing/2014/main" id="{066B0F2C-E5DF-704B-A18A-F55897F9141C}"/>
                </a:ext>
              </a:extLst>
            </p:cNvPr>
            <p:cNvSpPr/>
            <p:nvPr/>
          </p:nvSpPr>
          <p:spPr>
            <a:xfrm>
              <a:off x="15363480" y="2542744"/>
              <a:ext cx="59690" cy="104139"/>
            </a:xfrm>
            <a:custGeom>
              <a:avLst/>
              <a:gdLst/>
              <a:ahLst/>
              <a:cxnLst/>
              <a:rect l="l" t="t" r="r" b="b"/>
              <a:pathLst>
                <a:path w="59690" h="104139">
                  <a:moveTo>
                    <a:pt x="13999" y="2628"/>
                  </a:moveTo>
                  <a:lnTo>
                    <a:pt x="0" y="2628"/>
                  </a:lnTo>
                  <a:lnTo>
                    <a:pt x="0" y="104080"/>
                  </a:lnTo>
                  <a:lnTo>
                    <a:pt x="20878" y="104080"/>
                  </a:lnTo>
                  <a:lnTo>
                    <a:pt x="20878" y="24135"/>
                  </a:lnTo>
                  <a:lnTo>
                    <a:pt x="26794" y="21496"/>
                  </a:lnTo>
                  <a:lnTo>
                    <a:pt x="33674" y="19255"/>
                  </a:lnTo>
                  <a:lnTo>
                    <a:pt x="59443" y="19255"/>
                  </a:lnTo>
                  <a:lnTo>
                    <a:pt x="59443" y="8303"/>
                  </a:lnTo>
                  <a:lnTo>
                    <a:pt x="16020" y="8303"/>
                  </a:lnTo>
                  <a:lnTo>
                    <a:pt x="13999" y="2628"/>
                  </a:lnTo>
                  <a:close/>
                </a:path>
                <a:path w="59690" h="104139">
                  <a:moveTo>
                    <a:pt x="59443" y="19255"/>
                  </a:moveTo>
                  <a:lnTo>
                    <a:pt x="48501" y="19255"/>
                  </a:lnTo>
                  <a:lnTo>
                    <a:pt x="54364" y="20481"/>
                  </a:lnTo>
                  <a:lnTo>
                    <a:pt x="59443" y="22302"/>
                  </a:lnTo>
                  <a:lnTo>
                    <a:pt x="59443" y="19255"/>
                  </a:lnTo>
                  <a:close/>
                </a:path>
                <a:path w="59690" h="104139">
                  <a:moveTo>
                    <a:pt x="48909" y="0"/>
                  </a:moveTo>
                  <a:lnTo>
                    <a:pt x="44427" y="0"/>
                  </a:lnTo>
                  <a:lnTo>
                    <a:pt x="37022" y="527"/>
                  </a:lnTo>
                  <a:lnTo>
                    <a:pt x="29764" y="2098"/>
                  </a:lnTo>
                  <a:lnTo>
                    <a:pt x="22737" y="4695"/>
                  </a:lnTo>
                  <a:lnTo>
                    <a:pt x="16020" y="8303"/>
                  </a:lnTo>
                  <a:lnTo>
                    <a:pt x="59443" y="8303"/>
                  </a:lnTo>
                  <a:lnTo>
                    <a:pt x="59443" y="1612"/>
                  </a:lnTo>
                  <a:lnTo>
                    <a:pt x="54993" y="607"/>
                  </a:lnTo>
                  <a:lnTo>
                    <a:pt x="4890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4" name="object 14">
              <a:extLst>
                <a:ext uri="{FF2B5EF4-FFF2-40B4-BE49-F238E27FC236}">
                  <a16:creationId xmlns:a16="http://schemas.microsoft.com/office/drawing/2014/main" id="{F5949A49-32CF-984C-8B66-5F0F8599F7B8}"/>
                </a:ext>
              </a:extLst>
            </p:cNvPr>
            <p:cNvSpPr/>
            <p:nvPr/>
          </p:nvSpPr>
          <p:spPr>
            <a:xfrm>
              <a:off x="15501005" y="2542734"/>
              <a:ext cx="199600" cy="157440"/>
            </a:xfrm>
            <a:prstGeom prst="rect">
              <a:avLst/>
            </a:prstGeom>
            <a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5" name="object 15">
              <a:extLst>
                <a:ext uri="{FF2B5EF4-FFF2-40B4-BE49-F238E27FC236}">
                  <a16:creationId xmlns:a16="http://schemas.microsoft.com/office/drawing/2014/main" id="{ABFE3AD2-32C6-ED43-919B-CD3D7C50C9E1}"/>
                </a:ext>
              </a:extLst>
            </p:cNvPr>
            <p:cNvSpPr/>
            <p:nvPr/>
          </p:nvSpPr>
          <p:spPr>
            <a:xfrm>
              <a:off x="15844767" y="2542744"/>
              <a:ext cx="59690" cy="104139"/>
            </a:xfrm>
            <a:custGeom>
              <a:avLst/>
              <a:gdLst/>
              <a:ahLst/>
              <a:cxnLst/>
              <a:rect l="l" t="t" r="r" b="b"/>
              <a:pathLst>
                <a:path w="59690" h="104139">
                  <a:moveTo>
                    <a:pt x="14020" y="2628"/>
                  </a:moveTo>
                  <a:lnTo>
                    <a:pt x="0" y="2628"/>
                  </a:lnTo>
                  <a:lnTo>
                    <a:pt x="0" y="104080"/>
                  </a:lnTo>
                  <a:lnTo>
                    <a:pt x="20920" y="104080"/>
                  </a:lnTo>
                  <a:lnTo>
                    <a:pt x="20920" y="24135"/>
                  </a:lnTo>
                  <a:lnTo>
                    <a:pt x="26774" y="21496"/>
                  </a:lnTo>
                  <a:lnTo>
                    <a:pt x="33695" y="19255"/>
                  </a:lnTo>
                  <a:lnTo>
                    <a:pt x="59464" y="19255"/>
                  </a:lnTo>
                  <a:lnTo>
                    <a:pt x="59464" y="8303"/>
                  </a:lnTo>
                  <a:lnTo>
                    <a:pt x="16041" y="8303"/>
                  </a:lnTo>
                  <a:lnTo>
                    <a:pt x="14020" y="2628"/>
                  </a:lnTo>
                  <a:close/>
                </a:path>
                <a:path w="59690" h="104139">
                  <a:moveTo>
                    <a:pt x="59464" y="19255"/>
                  </a:moveTo>
                  <a:lnTo>
                    <a:pt x="48501" y="19255"/>
                  </a:lnTo>
                  <a:lnTo>
                    <a:pt x="54385" y="20481"/>
                  </a:lnTo>
                  <a:lnTo>
                    <a:pt x="59464" y="22302"/>
                  </a:lnTo>
                  <a:lnTo>
                    <a:pt x="59464" y="19255"/>
                  </a:lnTo>
                  <a:close/>
                </a:path>
                <a:path w="59690" h="104139">
                  <a:moveTo>
                    <a:pt x="48909" y="0"/>
                  </a:moveTo>
                  <a:lnTo>
                    <a:pt x="44427" y="0"/>
                  </a:lnTo>
                  <a:lnTo>
                    <a:pt x="37025" y="527"/>
                  </a:lnTo>
                  <a:lnTo>
                    <a:pt x="29775" y="2098"/>
                  </a:lnTo>
                  <a:lnTo>
                    <a:pt x="22754" y="4695"/>
                  </a:lnTo>
                  <a:lnTo>
                    <a:pt x="16041" y="8303"/>
                  </a:lnTo>
                  <a:lnTo>
                    <a:pt x="59464" y="8303"/>
                  </a:lnTo>
                  <a:lnTo>
                    <a:pt x="59464" y="1612"/>
                  </a:lnTo>
                  <a:lnTo>
                    <a:pt x="54993" y="607"/>
                  </a:lnTo>
                  <a:lnTo>
                    <a:pt x="4890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6" name="object 16">
              <a:extLst>
                <a:ext uri="{FF2B5EF4-FFF2-40B4-BE49-F238E27FC236}">
                  <a16:creationId xmlns:a16="http://schemas.microsoft.com/office/drawing/2014/main" id="{6EA42F7F-35EB-034A-977D-6915BDF3B4CC}"/>
                </a:ext>
              </a:extLst>
            </p:cNvPr>
            <p:cNvSpPr/>
            <p:nvPr/>
          </p:nvSpPr>
          <p:spPr>
            <a:xfrm>
              <a:off x="15924490" y="2542744"/>
              <a:ext cx="85630" cy="106719"/>
            </a:xfrm>
            <a:prstGeom prst="rect">
              <a:avLst/>
            </a:prstGeom>
            <a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7" name="object 17">
              <a:extLst>
                <a:ext uri="{FF2B5EF4-FFF2-40B4-BE49-F238E27FC236}">
                  <a16:creationId xmlns:a16="http://schemas.microsoft.com/office/drawing/2014/main" id="{856F3CDD-B521-754D-9F17-33D01AF2FC5D}"/>
                </a:ext>
              </a:extLst>
            </p:cNvPr>
            <p:cNvSpPr/>
            <p:nvPr/>
          </p:nvSpPr>
          <p:spPr>
            <a:xfrm>
              <a:off x="16083729" y="2542734"/>
              <a:ext cx="98991" cy="157440"/>
            </a:xfrm>
            <a:prstGeom prst="rect">
              <a:avLst/>
            </a:prstGeom>
            <a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26B44690-08F5-394D-9C32-DFA8AEB8E95B}"/>
                </a:ext>
              </a:extLst>
            </p:cNvPr>
            <p:cNvSpPr/>
            <p:nvPr/>
          </p:nvSpPr>
          <p:spPr>
            <a:xfrm>
              <a:off x="16203392" y="2494664"/>
              <a:ext cx="81327" cy="152152"/>
            </a:xfrm>
            <a:prstGeom prst="rect">
              <a:avLst/>
            </a:prstGeom>
            <a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9" name="object 19">
              <a:extLst>
                <a:ext uri="{FF2B5EF4-FFF2-40B4-BE49-F238E27FC236}">
                  <a16:creationId xmlns:a16="http://schemas.microsoft.com/office/drawing/2014/main" id="{82F79D31-ADC0-544C-BE4D-9AF0D38D20F9}"/>
                </a:ext>
              </a:extLst>
            </p:cNvPr>
            <p:cNvSpPr/>
            <p:nvPr/>
          </p:nvSpPr>
          <p:spPr>
            <a:xfrm>
              <a:off x="16435528" y="2542744"/>
              <a:ext cx="162704" cy="106719"/>
            </a:xfrm>
            <a:prstGeom prst="rect">
              <a:avLst/>
            </a:prstGeom>
            <a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20" name="object 20">
              <a:extLst>
                <a:ext uri="{FF2B5EF4-FFF2-40B4-BE49-F238E27FC236}">
                  <a16:creationId xmlns:a16="http://schemas.microsoft.com/office/drawing/2014/main" id="{749719E9-7629-0D43-B014-D5EF4E13BC42}"/>
                </a:ext>
              </a:extLst>
            </p:cNvPr>
            <p:cNvSpPr/>
            <p:nvPr/>
          </p:nvSpPr>
          <p:spPr>
            <a:xfrm>
              <a:off x="16733088" y="2542749"/>
              <a:ext cx="81128" cy="106708"/>
            </a:xfrm>
            <a:prstGeom prst="rect">
              <a:avLst/>
            </a:prstGeom>
            <a:blipFill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21" name="object 21">
              <a:extLst>
                <a:ext uri="{FF2B5EF4-FFF2-40B4-BE49-F238E27FC236}">
                  <a16:creationId xmlns:a16="http://schemas.microsoft.com/office/drawing/2014/main" id="{8D20C62F-8BDC-8949-9BEF-237EE7D4E653}"/>
                </a:ext>
              </a:extLst>
            </p:cNvPr>
            <p:cNvSpPr/>
            <p:nvPr/>
          </p:nvSpPr>
          <p:spPr>
            <a:xfrm>
              <a:off x="16842601" y="2494645"/>
              <a:ext cx="87442" cy="154801"/>
            </a:xfrm>
            <a:prstGeom prst="rect">
              <a:avLst/>
            </a:prstGeom>
            <a:blipFill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22" name="object 22">
              <a:extLst>
                <a:ext uri="{FF2B5EF4-FFF2-40B4-BE49-F238E27FC236}">
                  <a16:creationId xmlns:a16="http://schemas.microsoft.com/office/drawing/2014/main" id="{27E8ACD7-1E2A-0C4F-93E3-0886E0B9D56E}"/>
                </a:ext>
              </a:extLst>
            </p:cNvPr>
            <p:cNvSpPr/>
            <p:nvPr/>
          </p:nvSpPr>
          <p:spPr>
            <a:xfrm>
              <a:off x="17003059" y="2545373"/>
              <a:ext cx="94353" cy="152162"/>
            </a:xfrm>
            <a:prstGeom prst="rect">
              <a:avLst/>
            </a:prstGeom>
            <a:blipFill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23" name="object 23">
              <a:extLst>
                <a:ext uri="{FF2B5EF4-FFF2-40B4-BE49-F238E27FC236}">
                  <a16:creationId xmlns:a16="http://schemas.microsoft.com/office/drawing/2014/main" id="{0C46363A-0B6B-6D4B-8603-8D0B46C19AAC}"/>
                </a:ext>
              </a:extLst>
            </p:cNvPr>
            <p:cNvSpPr/>
            <p:nvPr/>
          </p:nvSpPr>
          <p:spPr>
            <a:xfrm>
              <a:off x="15056164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491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24" name="object 24">
              <a:extLst>
                <a:ext uri="{FF2B5EF4-FFF2-40B4-BE49-F238E27FC236}">
                  <a16:creationId xmlns:a16="http://schemas.microsoft.com/office/drawing/2014/main" id="{484959F2-EC34-1F4F-904E-E9EE95EC816F}"/>
                </a:ext>
              </a:extLst>
            </p:cNvPr>
            <p:cNvSpPr/>
            <p:nvPr/>
          </p:nvSpPr>
          <p:spPr>
            <a:xfrm>
              <a:off x="16637037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5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25" name="object 25">
              <a:extLst>
                <a:ext uri="{FF2B5EF4-FFF2-40B4-BE49-F238E27FC236}">
                  <a16:creationId xmlns:a16="http://schemas.microsoft.com/office/drawing/2014/main" id="{63E8624E-5A3B-0D45-BAD7-9DA598F7C26D}"/>
                </a:ext>
              </a:extLst>
            </p:cNvPr>
            <p:cNvSpPr/>
            <p:nvPr/>
          </p:nvSpPr>
          <p:spPr>
            <a:xfrm>
              <a:off x="16968897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501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26" name="object 26">
              <a:extLst>
                <a:ext uri="{FF2B5EF4-FFF2-40B4-BE49-F238E27FC236}">
                  <a16:creationId xmlns:a16="http://schemas.microsoft.com/office/drawing/2014/main" id="{F585B409-CD62-9246-9092-11DDAC75585B}"/>
                </a:ext>
              </a:extLst>
            </p:cNvPr>
            <p:cNvSpPr/>
            <p:nvPr/>
          </p:nvSpPr>
          <p:spPr>
            <a:xfrm>
              <a:off x="16312543" y="2512005"/>
              <a:ext cx="51435" cy="137795"/>
            </a:xfrm>
            <a:custGeom>
              <a:avLst/>
              <a:gdLst/>
              <a:ahLst/>
              <a:cxnLst/>
              <a:rect l="l" t="t" r="r" b="b"/>
              <a:pathLst>
                <a:path w="51434" h="137794">
                  <a:moveTo>
                    <a:pt x="20805" y="0"/>
                  </a:moveTo>
                  <a:lnTo>
                    <a:pt x="0" y="5758"/>
                  </a:lnTo>
                  <a:lnTo>
                    <a:pt x="0" y="108593"/>
                  </a:lnTo>
                  <a:lnTo>
                    <a:pt x="2937" y="121631"/>
                  </a:lnTo>
                  <a:lnTo>
                    <a:pt x="10667" y="130611"/>
                  </a:lnTo>
                  <a:lnTo>
                    <a:pt x="21565" y="135801"/>
                  </a:lnTo>
                  <a:lnTo>
                    <a:pt x="34009" y="137472"/>
                  </a:lnTo>
                  <a:lnTo>
                    <a:pt x="41852" y="137472"/>
                  </a:lnTo>
                  <a:lnTo>
                    <a:pt x="46982" y="136205"/>
                  </a:lnTo>
                  <a:lnTo>
                    <a:pt x="46982" y="117849"/>
                  </a:lnTo>
                  <a:lnTo>
                    <a:pt x="26585" y="117849"/>
                  </a:lnTo>
                  <a:lnTo>
                    <a:pt x="20805" y="115399"/>
                  </a:lnTo>
                  <a:lnTo>
                    <a:pt x="20805" y="49851"/>
                  </a:lnTo>
                  <a:lnTo>
                    <a:pt x="51317" y="49851"/>
                  </a:lnTo>
                  <a:lnTo>
                    <a:pt x="51317" y="31726"/>
                  </a:lnTo>
                  <a:lnTo>
                    <a:pt x="20805" y="31726"/>
                  </a:lnTo>
                  <a:lnTo>
                    <a:pt x="20805" y="0"/>
                  </a:lnTo>
                  <a:close/>
                </a:path>
                <a:path w="51434" h="137794">
                  <a:moveTo>
                    <a:pt x="46982" y="117054"/>
                  </a:moveTo>
                  <a:lnTo>
                    <a:pt x="44731" y="117462"/>
                  </a:lnTo>
                  <a:lnTo>
                    <a:pt x="39559" y="117849"/>
                  </a:lnTo>
                  <a:lnTo>
                    <a:pt x="46982" y="117849"/>
                  </a:lnTo>
                  <a:lnTo>
                    <a:pt x="46982" y="11705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27" name="object 27">
              <a:extLst>
                <a:ext uri="{FF2B5EF4-FFF2-40B4-BE49-F238E27FC236}">
                  <a16:creationId xmlns:a16="http://schemas.microsoft.com/office/drawing/2014/main" id="{3FAD4E42-952E-D149-99A0-372A21AD6CE7}"/>
                </a:ext>
              </a:extLst>
            </p:cNvPr>
            <p:cNvSpPr/>
            <p:nvPr/>
          </p:nvSpPr>
          <p:spPr>
            <a:xfrm>
              <a:off x="15771907" y="2491999"/>
              <a:ext cx="51435" cy="154940"/>
            </a:xfrm>
            <a:custGeom>
              <a:avLst/>
              <a:gdLst/>
              <a:ahLst/>
              <a:cxnLst/>
              <a:rect l="l" t="t" r="r" b="b"/>
              <a:pathLst>
                <a:path w="51434" h="154939">
                  <a:moveTo>
                    <a:pt x="41831" y="0"/>
                  </a:moveTo>
                  <a:lnTo>
                    <a:pt x="34030" y="0"/>
                  </a:lnTo>
                  <a:lnTo>
                    <a:pt x="21574" y="1670"/>
                  </a:lnTo>
                  <a:lnTo>
                    <a:pt x="10669" y="6861"/>
                  </a:lnTo>
                  <a:lnTo>
                    <a:pt x="2937" y="15840"/>
                  </a:lnTo>
                  <a:lnTo>
                    <a:pt x="0" y="28878"/>
                  </a:lnTo>
                  <a:lnTo>
                    <a:pt x="0" y="154812"/>
                  </a:lnTo>
                  <a:lnTo>
                    <a:pt x="20805" y="154812"/>
                  </a:lnTo>
                  <a:lnTo>
                    <a:pt x="20805" y="71505"/>
                  </a:lnTo>
                  <a:lnTo>
                    <a:pt x="51338" y="71505"/>
                  </a:lnTo>
                  <a:lnTo>
                    <a:pt x="51338" y="53380"/>
                  </a:lnTo>
                  <a:lnTo>
                    <a:pt x="20805" y="53380"/>
                  </a:lnTo>
                  <a:lnTo>
                    <a:pt x="20805" y="22072"/>
                  </a:lnTo>
                  <a:lnTo>
                    <a:pt x="26564" y="19601"/>
                  </a:lnTo>
                  <a:lnTo>
                    <a:pt x="46982" y="19601"/>
                  </a:lnTo>
                  <a:lnTo>
                    <a:pt x="46982" y="1246"/>
                  </a:lnTo>
                  <a:lnTo>
                    <a:pt x="41831" y="0"/>
                  </a:lnTo>
                  <a:close/>
                </a:path>
                <a:path w="51434" h="154939">
                  <a:moveTo>
                    <a:pt x="46982" y="19601"/>
                  </a:moveTo>
                  <a:lnTo>
                    <a:pt x="39569" y="19601"/>
                  </a:lnTo>
                  <a:lnTo>
                    <a:pt x="44721" y="20009"/>
                  </a:lnTo>
                  <a:lnTo>
                    <a:pt x="46982" y="20418"/>
                  </a:lnTo>
                  <a:lnTo>
                    <a:pt x="46982" y="1960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28" name="object 28">
              <a:extLst>
                <a:ext uri="{FF2B5EF4-FFF2-40B4-BE49-F238E27FC236}">
                  <a16:creationId xmlns:a16="http://schemas.microsoft.com/office/drawing/2014/main" id="{1AEE6AD3-D5D8-4240-A700-2B0E39D9FFC8}"/>
                </a:ext>
              </a:extLst>
            </p:cNvPr>
            <p:cNvSpPr/>
            <p:nvPr/>
          </p:nvSpPr>
          <p:spPr>
            <a:xfrm>
              <a:off x="17093362" y="1336135"/>
              <a:ext cx="612140" cy="353695"/>
            </a:xfrm>
            <a:custGeom>
              <a:avLst/>
              <a:gdLst/>
              <a:ahLst/>
              <a:cxnLst/>
              <a:rect l="l" t="t" r="r" b="b"/>
              <a:pathLst>
                <a:path w="612140" h="353694">
                  <a:moveTo>
                    <a:pt x="611656" y="0"/>
                  </a:moveTo>
                  <a:lnTo>
                    <a:pt x="0" y="20"/>
                  </a:lnTo>
                  <a:lnTo>
                    <a:pt x="203910" y="353162"/>
                  </a:lnTo>
                  <a:lnTo>
                    <a:pt x="407767" y="353162"/>
                  </a:lnTo>
                  <a:lnTo>
                    <a:pt x="611656" y="0"/>
                  </a:lnTo>
                  <a:close/>
                </a:path>
              </a:pathLst>
            </a:custGeom>
            <a:solidFill>
              <a:srgbClr val="85BD3E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29" name="object 29">
              <a:extLst>
                <a:ext uri="{FF2B5EF4-FFF2-40B4-BE49-F238E27FC236}">
                  <a16:creationId xmlns:a16="http://schemas.microsoft.com/office/drawing/2014/main" id="{F0AF6F60-B5C8-034E-9CB0-F5F2FEE248E5}"/>
                </a:ext>
              </a:extLst>
            </p:cNvPr>
            <p:cNvSpPr/>
            <p:nvPr/>
          </p:nvSpPr>
          <p:spPr>
            <a:xfrm>
              <a:off x="17471866" y="1336132"/>
              <a:ext cx="1165860" cy="1009650"/>
            </a:xfrm>
            <a:custGeom>
              <a:avLst/>
              <a:gdLst/>
              <a:ahLst/>
              <a:cxnLst/>
              <a:rect l="l" t="t" r="r" b="b"/>
              <a:pathLst>
                <a:path w="1165859" h="1009650">
                  <a:moveTo>
                    <a:pt x="961363" y="0"/>
                  </a:moveTo>
                  <a:lnTo>
                    <a:pt x="378805" y="41"/>
                  </a:lnTo>
                  <a:lnTo>
                    <a:pt x="0" y="655665"/>
                  </a:lnTo>
                  <a:lnTo>
                    <a:pt x="204046" y="1009026"/>
                  </a:lnTo>
                  <a:lnTo>
                    <a:pt x="582683" y="353162"/>
                  </a:lnTo>
                  <a:lnTo>
                    <a:pt x="1165388" y="353162"/>
                  </a:lnTo>
                  <a:lnTo>
                    <a:pt x="961363" y="0"/>
                  </a:lnTo>
                  <a:close/>
                </a:path>
              </a:pathLst>
            </a:custGeom>
            <a:solidFill>
              <a:srgbClr val="E63023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125205B5-8411-4A45-A066-6B1F267005F4}"/>
                </a:ext>
              </a:extLst>
            </p:cNvPr>
            <p:cNvSpPr/>
            <p:nvPr/>
          </p:nvSpPr>
          <p:spPr>
            <a:xfrm>
              <a:off x="17602493" y="781197"/>
              <a:ext cx="1790700" cy="201930"/>
            </a:xfrm>
            <a:custGeom>
              <a:avLst/>
              <a:gdLst/>
              <a:ahLst/>
              <a:cxnLst/>
              <a:rect l="l" t="t" r="r" b="b"/>
              <a:pathLst>
                <a:path w="1790700" h="201930">
                  <a:moveTo>
                    <a:pt x="328136" y="0"/>
                  </a:moveTo>
                  <a:lnTo>
                    <a:pt x="208370" y="0"/>
                  </a:lnTo>
                  <a:lnTo>
                    <a:pt x="208370" y="201784"/>
                  </a:lnTo>
                  <a:lnTo>
                    <a:pt x="258829" y="201784"/>
                  </a:lnTo>
                  <a:lnTo>
                    <a:pt x="258829" y="122991"/>
                  </a:lnTo>
                  <a:lnTo>
                    <a:pt x="364700" y="122991"/>
                  </a:lnTo>
                  <a:lnTo>
                    <a:pt x="359287" y="113609"/>
                  </a:lnTo>
                  <a:lnTo>
                    <a:pt x="369823" y="104711"/>
                  </a:lnTo>
                  <a:lnTo>
                    <a:pt x="377924" y="93525"/>
                  </a:lnTo>
                  <a:lnTo>
                    <a:pt x="383125" y="80510"/>
                  </a:lnTo>
                  <a:lnTo>
                    <a:pt x="383340" y="78824"/>
                  </a:lnTo>
                  <a:lnTo>
                    <a:pt x="258829" y="78824"/>
                  </a:lnTo>
                  <a:lnTo>
                    <a:pt x="258829" y="44145"/>
                  </a:lnTo>
                  <a:lnTo>
                    <a:pt x="382315" y="44145"/>
                  </a:lnTo>
                  <a:lnTo>
                    <a:pt x="380421" y="34716"/>
                  </a:lnTo>
                  <a:lnTo>
                    <a:pt x="368281" y="16647"/>
                  </a:lnTo>
                  <a:lnTo>
                    <a:pt x="350253" y="4466"/>
                  </a:lnTo>
                  <a:lnTo>
                    <a:pt x="328136" y="0"/>
                  </a:lnTo>
                  <a:close/>
                </a:path>
                <a:path w="1790700" h="201930">
                  <a:moveTo>
                    <a:pt x="364700" y="122991"/>
                  </a:moveTo>
                  <a:lnTo>
                    <a:pt x="313498" y="122991"/>
                  </a:lnTo>
                  <a:lnTo>
                    <a:pt x="358994" y="201784"/>
                  </a:lnTo>
                  <a:lnTo>
                    <a:pt x="410165" y="201784"/>
                  </a:lnTo>
                  <a:lnTo>
                    <a:pt x="364700" y="122991"/>
                  </a:lnTo>
                  <a:close/>
                </a:path>
                <a:path w="1790700" h="201930">
                  <a:moveTo>
                    <a:pt x="566139" y="0"/>
                  </a:moveTo>
                  <a:lnTo>
                    <a:pt x="512445" y="0"/>
                  </a:lnTo>
                  <a:lnTo>
                    <a:pt x="410165" y="201784"/>
                  </a:lnTo>
                  <a:lnTo>
                    <a:pt x="463849" y="201784"/>
                  </a:lnTo>
                  <a:lnTo>
                    <a:pt x="489398" y="151346"/>
                  </a:lnTo>
                  <a:lnTo>
                    <a:pt x="642861" y="151346"/>
                  </a:lnTo>
                  <a:lnTo>
                    <a:pt x="620472" y="107179"/>
                  </a:lnTo>
                  <a:lnTo>
                    <a:pt x="511785" y="107179"/>
                  </a:lnTo>
                  <a:lnTo>
                    <a:pt x="539282" y="52898"/>
                  </a:lnTo>
                  <a:lnTo>
                    <a:pt x="592955" y="52898"/>
                  </a:lnTo>
                  <a:lnTo>
                    <a:pt x="566139" y="0"/>
                  </a:lnTo>
                  <a:close/>
                </a:path>
                <a:path w="1790700" h="201930">
                  <a:moveTo>
                    <a:pt x="642861" y="151346"/>
                  </a:moveTo>
                  <a:lnTo>
                    <a:pt x="589186" y="151346"/>
                  </a:lnTo>
                  <a:lnTo>
                    <a:pt x="614756" y="201784"/>
                  </a:lnTo>
                  <a:lnTo>
                    <a:pt x="668429" y="201784"/>
                  </a:lnTo>
                  <a:lnTo>
                    <a:pt x="642861" y="151346"/>
                  </a:lnTo>
                  <a:close/>
                </a:path>
                <a:path w="1790700" h="201930">
                  <a:moveTo>
                    <a:pt x="592955" y="52898"/>
                  </a:moveTo>
                  <a:lnTo>
                    <a:pt x="539282" y="52898"/>
                  </a:lnTo>
                  <a:lnTo>
                    <a:pt x="566799" y="107179"/>
                  </a:lnTo>
                  <a:lnTo>
                    <a:pt x="620472" y="107179"/>
                  </a:lnTo>
                  <a:lnTo>
                    <a:pt x="592955" y="52898"/>
                  </a:lnTo>
                  <a:close/>
                </a:path>
                <a:path w="1790700" h="201930">
                  <a:moveTo>
                    <a:pt x="382315" y="44145"/>
                  </a:moveTo>
                  <a:lnTo>
                    <a:pt x="328817" y="44145"/>
                  </a:lnTo>
                  <a:lnTo>
                    <a:pt x="334492" y="49851"/>
                  </a:lnTo>
                  <a:lnTo>
                    <a:pt x="334618" y="73149"/>
                  </a:lnTo>
                  <a:lnTo>
                    <a:pt x="328911" y="78824"/>
                  </a:lnTo>
                  <a:lnTo>
                    <a:pt x="383340" y="78824"/>
                  </a:lnTo>
                  <a:lnTo>
                    <a:pt x="384962" y="66123"/>
                  </a:lnTo>
                  <a:lnTo>
                    <a:pt x="384867" y="56846"/>
                  </a:lnTo>
                  <a:lnTo>
                    <a:pt x="382315" y="44145"/>
                  </a:lnTo>
                  <a:close/>
                </a:path>
                <a:path w="1790700" h="201930">
                  <a:moveTo>
                    <a:pt x="1582820" y="0"/>
                  </a:moveTo>
                  <a:lnTo>
                    <a:pt x="1418888" y="0"/>
                  </a:lnTo>
                  <a:lnTo>
                    <a:pt x="1418888" y="201784"/>
                  </a:lnTo>
                  <a:lnTo>
                    <a:pt x="1582820" y="201784"/>
                  </a:lnTo>
                  <a:lnTo>
                    <a:pt x="1582820" y="157618"/>
                  </a:lnTo>
                  <a:lnTo>
                    <a:pt x="1469295" y="157618"/>
                  </a:lnTo>
                  <a:lnTo>
                    <a:pt x="1469295" y="122970"/>
                  </a:lnTo>
                  <a:lnTo>
                    <a:pt x="1576548" y="122970"/>
                  </a:lnTo>
                  <a:lnTo>
                    <a:pt x="1576548" y="78803"/>
                  </a:lnTo>
                  <a:lnTo>
                    <a:pt x="1469295" y="78803"/>
                  </a:lnTo>
                  <a:lnTo>
                    <a:pt x="1469295" y="44134"/>
                  </a:lnTo>
                  <a:lnTo>
                    <a:pt x="1582820" y="44134"/>
                  </a:lnTo>
                  <a:lnTo>
                    <a:pt x="1582820" y="0"/>
                  </a:lnTo>
                  <a:close/>
                </a:path>
                <a:path w="1790700" h="201930">
                  <a:moveTo>
                    <a:pt x="955436" y="150529"/>
                  </a:moveTo>
                  <a:lnTo>
                    <a:pt x="933301" y="188800"/>
                  </a:lnTo>
                  <a:lnTo>
                    <a:pt x="946596" y="194124"/>
                  </a:lnTo>
                  <a:lnTo>
                    <a:pt x="960510" y="198071"/>
                  </a:lnTo>
                  <a:lnTo>
                    <a:pt x="974981" y="200531"/>
                  </a:lnTo>
                  <a:lnTo>
                    <a:pt x="989948" y="201397"/>
                  </a:lnTo>
                  <a:lnTo>
                    <a:pt x="1065496" y="201376"/>
                  </a:lnTo>
                  <a:lnTo>
                    <a:pt x="1087569" y="196917"/>
                  </a:lnTo>
                  <a:lnTo>
                    <a:pt x="1105565" y="184757"/>
                  </a:lnTo>
                  <a:lnTo>
                    <a:pt x="1117683" y="166721"/>
                  </a:lnTo>
                  <a:lnTo>
                    <a:pt x="1119570" y="157335"/>
                  </a:lnTo>
                  <a:lnTo>
                    <a:pt x="989948" y="157335"/>
                  </a:lnTo>
                  <a:lnTo>
                    <a:pt x="980897" y="156875"/>
                  </a:lnTo>
                  <a:lnTo>
                    <a:pt x="972092" y="155558"/>
                  </a:lnTo>
                  <a:lnTo>
                    <a:pt x="963587" y="153427"/>
                  </a:lnTo>
                  <a:lnTo>
                    <a:pt x="955436" y="150529"/>
                  </a:lnTo>
                  <a:close/>
                </a:path>
                <a:path w="1790700" h="201930">
                  <a:moveTo>
                    <a:pt x="1065464" y="0"/>
                  </a:moveTo>
                  <a:lnTo>
                    <a:pt x="989948" y="0"/>
                  </a:lnTo>
                  <a:lnTo>
                    <a:pt x="967867" y="4455"/>
                  </a:lnTo>
                  <a:lnTo>
                    <a:pt x="949865" y="16610"/>
                  </a:lnTo>
                  <a:lnTo>
                    <a:pt x="937742" y="34645"/>
                  </a:lnTo>
                  <a:lnTo>
                    <a:pt x="933301" y="56741"/>
                  </a:lnTo>
                  <a:lnTo>
                    <a:pt x="933301" y="65966"/>
                  </a:lnTo>
                  <a:lnTo>
                    <a:pt x="937742" y="88065"/>
                  </a:lnTo>
                  <a:lnTo>
                    <a:pt x="949865" y="106108"/>
                  </a:lnTo>
                  <a:lnTo>
                    <a:pt x="967867" y="118270"/>
                  </a:lnTo>
                  <a:lnTo>
                    <a:pt x="989948" y="122729"/>
                  </a:lnTo>
                  <a:lnTo>
                    <a:pt x="1066176" y="122729"/>
                  </a:lnTo>
                  <a:lnTo>
                    <a:pt x="1071852" y="128393"/>
                  </a:lnTo>
                  <a:lnTo>
                    <a:pt x="1071852" y="151628"/>
                  </a:lnTo>
                  <a:lnTo>
                    <a:pt x="1066176" y="157314"/>
                  </a:lnTo>
                  <a:lnTo>
                    <a:pt x="989948" y="157335"/>
                  </a:lnTo>
                  <a:lnTo>
                    <a:pt x="1119570" y="157335"/>
                  </a:lnTo>
                  <a:lnTo>
                    <a:pt x="1122122" y="144634"/>
                  </a:lnTo>
                  <a:lnTo>
                    <a:pt x="1122122" y="135388"/>
                  </a:lnTo>
                  <a:lnTo>
                    <a:pt x="1117683" y="113313"/>
                  </a:lnTo>
                  <a:lnTo>
                    <a:pt x="1105565" y="95283"/>
                  </a:lnTo>
                  <a:lnTo>
                    <a:pt x="1087569" y="83126"/>
                  </a:lnTo>
                  <a:lnTo>
                    <a:pt x="1065496" y="78667"/>
                  </a:lnTo>
                  <a:lnTo>
                    <a:pt x="989247" y="78667"/>
                  </a:lnTo>
                  <a:lnTo>
                    <a:pt x="983551" y="72992"/>
                  </a:lnTo>
                  <a:lnTo>
                    <a:pt x="983551" y="49736"/>
                  </a:lnTo>
                  <a:lnTo>
                    <a:pt x="989247" y="44061"/>
                  </a:lnTo>
                  <a:lnTo>
                    <a:pt x="1096919" y="44061"/>
                  </a:lnTo>
                  <a:lnTo>
                    <a:pt x="1096919" y="3120"/>
                  </a:lnTo>
                  <a:lnTo>
                    <a:pt x="1089567" y="1744"/>
                  </a:lnTo>
                  <a:lnTo>
                    <a:pt x="1081738" y="770"/>
                  </a:lnTo>
                  <a:lnTo>
                    <a:pt x="1073635" y="191"/>
                  </a:lnTo>
                  <a:lnTo>
                    <a:pt x="1065464" y="0"/>
                  </a:lnTo>
                  <a:close/>
                </a:path>
                <a:path w="1790700" h="201930">
                  <a:moveTo>
                    <a:pt x="1096919" y="44061"/>
                  </a:moveTo>
                  <a:lnTo>
                    <a:pt x="1065464" y="44061"/>
                  </a:lnTo>
                  <a:lnTo>
                    <a:pt x="1072436" y="44315"/>
                  </a:lnTo>
                  <a:lnTo>
                    <a:pt x="1081957" y="44998"/>
                  </a:lnTo>
                  <a:lnTo>
                    <a:pt x="1091096" y="45996"/>
                  </a:lnTo>
                  <a:lnTo>
                    <a:pt x="1096919" y="47192"/>
                  </a:lnTo>
                  <a:lnTo>
                    <a:pt x="1096919" y="44061"/>
                  </a:lnTo>
                  <a:close/>
                </a:path>
                <a:path w="1790700" h="201930">
                  <a:moveTo>
                    <a:pt x="1639614" y="0"/>
                  </a:moveTo>
                  <a:lnTo>
                    <a:pt x="1639614" y="201784"/>
                  </a:lnTo>
                  <a:lnTo>
                    <a:pt x="1690074" y="201784"/>
                  </a:lnTo>
                  <a:lnTo>
                    <a:pt x="1690074" y="44145"/>
                  </a:lnTo>
                  <a:lnTo>
                    <a:pt x="1765150" y="44145"/>
                  </a:lnTo>
                  <a:lnTo>
                    <a:pt x="1790667" y="31"/>
                  </a:lnTo>
                  <a:lnTo>
                    <a:pt x="1639614" y="0"/>
                  </a:lnTo>
                  <a:close/>
                </a:path>
                <a:path w="1790700" h="201930">
                  <a:moveTo>
                    <a:pt x="1217093" y="0"/>
                  </a:moveTo>
                  <a:lnTo>
                    <a:pt x="1160341" y="0"/>
                  </a:lnTo>
                  <a:lnTo>
                    <a:pt x="1160341" y="201784"/>
                  </a:lnTo>
                  <a:lnTo>
                    <a:pt x="1210758" y="201784"/>
                  </a:lnTo>
                  <a:lnTo>
                    <a:pt x="1210758" y="69589"/>
                  </a:lnTo>
                  <a:lnTo>
                    <a:pt x="1266900" y="69589"/>
                  </a:lnTo>
                  <a:lnTo>
                    <a:pt x="1217093" y="0"/>
                  </a:lnTo>
                  <a:close/>
                </a:path>
                <a:path w="1790700" h="201930">
                  <a:moveTo>
                    <a:pt x="1266900" y="69589"/>
                  </a:moveTo>
                  <a:lnTo>
                    <a:pt x="1210758" y="69589"/>
                  </a:lnTo>
                  <a:lnTo>
                    <a:pt x="1305363" y="201784"/>
                  </a:lnTo>
                  <a:lnTo>
                    <a:pt x="1362136" y="201784"/>
                  </a:lnTo>
                  <a:lnTo>
                    <a:pt x="1362136" y="132194"/>
                  </a:lnTo>
                  <a:lnTo>
                    <a:pt x="1311708" y="132194"/>
                  </a:lnTo>
                  <a:lnTo>
                    <a:pt x="1266900" y="69589"/>
                  </a:lnTo>
                  <a:close/>
                </a:path>
                <a:path w="1790700" h="201930">
                  <a:moveTo>
                    <a:pt x="1362136" y="188"/>
                  </a:moveTo>
                  <a:lnTo>
                    <a:pt x="1311708" y="188"/>
                  </a:lnTo>
                  <a:lnTo>
                    <a:pt x="1311708" y="132194"/>
                  </a:lnTo>
                  <a:lnTo>
                    <a:pt x="1362136" y="132194"/>
                  </a:lnTo>
                  <a:lnTo>
                    <a:pt x="1362136" y="188"/>
                  </a:lnTo>
                  <a:close/>
                </a:path>
                <a:path w="1790700" h="201930">
                  <a:moveTo>
                    <a:pt x="151607" y="44145"/>
                  </a:moveTo>
                  <a:lnTo>
                    <a:pt x="101138" y="44145"/>
                  </a:lnTo>
                  <a:lnTo>
                    <a:pt x="101138" y="201784"/>
                  </a:lnTo>
                  <a:lnTo>
                    <a:pt x="151607" y="201784"/>
                  </a:lnTo>
                  <a:lnTo>
                    <a:pt x="151607" y="44145"/>
                  </a:lnTo>
                  <a:close/>
                </a:path>
                <a:path w="1790700" h="201930">
                  <a:moveTo>
                    <a:pt x="151607" y="0"/>
                  </a:moveTo>
                  <a:lnTo>
                    <a:pt x="0" y="31"/>
                  </a:lnTo>
                  <a:lnTo>
                    <a:pt x="25496" y="44166"/>
                  </a:lnTo>
                  <a:lnTo>
                    <a:pt x="151607" y="44145"/>
                  </a:lnTo>
                  <a:lnTo>
                    <a:pt x="151607" y="0"/>
                  </a:lnTo>
                  <a:close/>
                </a:path>
                <a:path w="1790700" h="201930">
                  <a:moveTo>
                    <a:pt x="744092" y="0"/>
                  </a:moveTo>
                  <a:lnTo>
                    <a:pt x="687350" y="0"/>
                  </a:lnTo>
                  <a:lnTo>
                    <a:pt x="687350" y="201784"/>
                  </a:lnTo>
                  <a:lnTo>
                    <a:pt x="737768" y="201784"/>
                  </a:lnTo>
                  <a:lnTo>
                    <a:pt x="737768" y="69589"/>
                  </a:lnTo>
                  <a:lnTo>
                    <a:pt x="793893" y="69589"/>
                  </a:lnTo>
                  <a:lnTo>
                    <a:pt x="744092" y="0"/>
                  </a:lnTo>
                  <a:close/>
                </a:path>
                <a:path w="1790700" h="201930">
                  <a:moveTo>
                    <a:pt x="793893" y="69589"/>
                  </a:moveTo>
                  <a:lnTo>
                    <a:pt x="737768" y="69589"/>
                  </a:lnTo>
                  <a:lnTo>
                    <a:pt x="832372" y="201784"/>
                  </a:lnTo>
                  <a:lnTo>
                    <a:pt x="889145" y="201784"/>
                  </a:lnTo>
                  <a:lnTo>
                    <a:pt x="889145" y="132194"/>
                  </a:lnTo>
                  <a:lnTo>
                    <a:pt x="838696" y="132194"/>
                  </a:lnTo>
                  <a:lnTo>
                    <a:pt x="793893" y="69589"/>
                  </a:lnTo>
                  <a:close/>
                </a:path>
                <a:path w="1790700" h="201930">
                  <a:moveTo>
                    <a:pt x="889145" y="188"/>
                  </a:moveTo>
                  <a:lnTo>
                    <a:pt x="838696" y="188"/>
                  </a:lnTo>
                  <a:lnTo>
                    <a:pt x="838696" y="132194"/>
                  </a:lnTo>
                  <a:lnTo>
                    <a:pt x="889145" y="132194"/>
                  </a:lnTo>
                  <a:lnTo>
                    <a:pt x="889145" y="188"/>
                  </a:lnTo>
                  <a:close/>
                </a:path>
              </a:pathLst>
            </a:custGeom>
            <a:solidFill>
              <a:srgbClr val="E63023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</p:grpSp>
      <p:sp>
        <p:nvSpPr>
          <p:cNvPr id="31" name="object 4">
            <a:extLst>
              <a:ext uri="{FF2B5EF4-FFF2-40B4-BE49-F238E27FC236}">
                <a16:creationId xmlns:a16="http://schemas.microsoft.com/office/drawing/2014/main" id="{61CF7A6D-5685-6042-A629-3C5635BBC234}"/>
              </a:ext>
            </a:extLst>
          </p:cNvPr>
          <p:cNvSpPr/>
          <p:nvPr userDrawn="1"/>
        </p:nvSpPr>
        <p:spPr>
          <a:xfrm>
            <a:off x="635835" y="2664176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1092" dirty="0"/>
          </a:p>
        </p:txBody>
      </p:sp>
    </p:spTree>
    <p:extLst>
      <p:ext uri="{BB962C8B-B14F-4D97-AF65-F5344CB8AC3E}">
        <p14:creationId xmlns:p14="http://schemas.microsoft.com/office/powerpoint/2010/main" val="425907115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bject 2">
            <a:extLst>
              <a:ext uri="{FF2B5EF4-FFF2-40B4-BE49-F238E27FC236}">
                <a16:creationId xmlns:a16="http://schemas.microsoft.com/office/drawing/2014/main" id="{9673ADB8-E5D1-124A-8C4A-2DD75998A228}"/>
              </a:ext>
            </a:extLst>
          </p:cNvPr>
          <p:cNvSpPr/>
          <p:nvPr userDrawn="1"/>
        </p:nvSpPr>
        <p:spPr>
          <a:xfrm>
            <a:off x="1" y="0"/>
            <a:ext cx="12191999" cy="6857519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DCE2317-9465-B44C-889D-A5E7352B42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81"/>
            <a:ext cx="12192000" cy="6857519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CE58E494-1C6C-6048-95A4-E67DC56D17E1}"/>
              </a:ext>
            </a:extLst>
          </p:cNvPr>
          <p:cNvGrpSpPr/>
          <p:nvPr userDrawn="1"/>
        </p:nvGrpSpPr>
        <p:grpSpPr>
          <a:xfrm>
            <a:off x="8986233" y="302269"/>
            <a:ext cx="2774642" cy="1163669"/>
            <a:chOff x="14817924" y="781197"/>
            <a:chExt cx="4575269" cy="1918977"/>
          </a:xfrm>
        </p:grpSpPr>
        <p:sp>
          <p:nvSpPr>
            <p:cNvPr id="6" name="object 6">
              <a:extLst>
                <a:ext uri="{FF2B5EF4-FFF2-40B4-BE49-F238E27FC236}">
                  <a16:creationId xmlns:a16="http://schemas.microsoft.com/office/drawing/2014/main" id="{988D07A3-0940-0A42-8A69-CD338296E901}"/>
                </a:ext>
              </a:extLst>
            </p:cNvPr>
            <p:cNvSpPr/>
            <p:nvPr/>
          </p:nvSpPr>
          <p:spPr>
            <a:xfrm>
              <a:off x="14817924" y="2494651"/>
              <a:ext cx="87452" cy="154822"/>
            </a:xfrm>
            <a:prstGeom prst="rect">
              <a:avLst/>
            </a:prstGeom>
            <a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7" name="object 7">
              <a:extLst>
                <a:ext uri="{FF2B5EF4-FFF2-40B4-BE49-F238E27FC236}">
                  <a16:creationId xmlns:a16="http://schemas.microsoft.com/office/drawing/2014/main" id="{30B6986F-75AA-4742-977C-6A4BC896B03F}"/>
                </a:ext>
              </a:extLst>
            </p:cNvPr>
            <p:cNvSpPr/>
            <p:nvPr/>
          </p:nvSpPr>
          <p:spPr>
            <a:xfrm>
              <a:off x="14931724" y="2542744"/>
              <a:ext cx="85630" cy="106719"/>
            </a:xfrm>
            <a:prstGeom prst="rect">
              <a:avLst/>
            </a:prstGeom>
            <a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8" name="object 8">
              <a:extLst>
                <a:ext uri="{FF2B5EF4-FFF2-40B4-BE49-F238E27FC236}">
                  <a16:creationId xmlns:a16="http://schemas.microsoft.com/office/drawing/2014/main" id="{831D4405-7C33-EE49-83D0-0DFBF1B03A36}"/>
                </a:ext>
              </a:extLst>
            </p:cNvPr>
            <p:cNvSpPr/>
            <p:nvPr/>
          </p:nvSpPr>
          <p:spPr>
            <a:xfrm>
              <a:off x="15096148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790" y="48082"/>
                  </a:lnTo>
                  <a:lnTo>
                    <a:pt x="3790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14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14" y="28417"/>
                  </a:lnTo>
                  <a:lnTo>
                    <a:pt x="28407" y="22104"/>
                  </a:lnTo>
                  <a:lnTo>
                    <a:pt x="28407" y="6272"/>
                  </a:lnTo>
                  <a:lnTo>
                    <a:pt x="2211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9" name="object 9">
              <a:extLst>
                <a:ext uri="{FF2B5EF4-FFF2-40B4-BE49-F238E27FC236}">
                  <a16:creationId xmlns:a16="http://schemas.microsoft.com/office/drawing/2014/main" id="{F10C3FDC-3B9C-F943-A57A-8203A4553305}"/>
                </a:ext>
              </a:extLst>
            </p:cNvPr>
            <p:cNvSpPr/>
            <p:nvPr/>
          </p:nvSpPr>
          <p:spPr>
            <a:xfrm>
              <a:off x="16034821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821" y="48082"/>
                  </a:lnTo>
                  <a:lnTo>
                    <a:pt x="3821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24" y="0"/>
                  </a:moveTo>
                  <a:lnTo>
                    <a:pt x="629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293" y="28417"/>
                  </a:lnTo>
                  <a:lnTo>
                    <a:pt x="22124" y="28417"/>
                  </a:lnTo>
                  <a:lnTo>
                    <a:pt x="28428" y="22104"/>
                  </a:lnTo>
                  <a:lnTo>
                    <a:pt x="28428" y="6272"/>
                  </a:lnTo>
                  <a:lnTo>
                    <a:pt x="221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0" name="object 10">
              <a:extLst>
                <a:ext uri="{FF2B5EF4-FFF2-40B4-BE49-F238E27FC236}">
                  <a16:creationId xmlns:a16="http://schemas.microsoft.com/office/drawing/2014/main" id="{6DC94C29-8843-4A4F-882E-11F5742BDC36}"/>
                </a:ext>
              </a:extLst>
            </p:cNvPr>
            <p:cNvSpPr/>
            <p:nvPr/>
          </p:nvSpPr>
          <p:spPr>
            <a:xfrm>
              <a:off x="16678738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292" y="48082"/>
                  </a:moveTo>
                  <a:lnTo>
                    <a:pt x="3790" y="48082"/>
                  </a:lnTo>
                  <a:lnTo>
                    <a:pt x="3790" y="149524"/>
                  </a:lnTo>
                  <a:lnTo>
                    <a:pt x="24292" y="149524"/>
                  </a:lnTo>
                  <a:lnTo>
                    <a:pt x="24292" y="48082"/>
                  </a:lnTo>
                  <a:close/>
                </a:path>
                <a:path w="28575" h="149860">
                  <a:moveTo>
                    <a:pt x="22104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04" y="28417"/>
                  </a:lnTo>
                  <a:lnTo>
                    <a:pt x="28397" y="22104"/>
                  </a:lnTo>
                  <a:lnTo>
                    <a:pt x="28397" y="6272"/>
                  </a:lnTo>
                  <a:lnTo>
                    <a:pt x="2210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1" name="object 11">
              <a:extLst>
                <a:ext uri="{FF2B5EF4-FFF2-40B4-BE49-F238E27FC236}">
                  <a16:creationId xmlns:a16="http://schemas.microsoft.com/office/drawing/2014/main" id="{7D8BD669-B8D4-7848-80E7-1C8D4904BAED}"/>
                </a:ext>
              </a:extLst>
            </p:cNvPr>
            <p:cNvSpPr/>
            <p:nvPr/>
          </p:nvSpPr>
          <p:spPr>
            <a:xfrm>
              <a:off x="15443530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800" y="48082"/>
                  </a:lnTo>
                  <a:lnTo>
                    <a:pt x="3800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35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35" y="28417"/>
                  </a:lnTo>
                  <a:lnTo>
                    <a:pt x="28417" y="22104"/>
                  </a:lnTo>
                  <a:lnTo>
                    <a:pt x="28417" y="6272"/>
                  </a:lnTo>
                  <a:lnTo>
                    <a:pt x="2213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2" name="object 12">
              <a:extLst>
                <a:ext uri="{FF2B5EF4-FFF2-40B4-BE49-F238E27FC236}">
                  <a16:creationId xmlns:a16="http://schemas.microsoft.com/office/drawing/2014/main" id="{989DAB23-E9EF-C14F-B9C4-929E36182A25}"/>
                </a:ext>
              </a:extLst>
            </p:cNvPr>
            <p:cNvSpPr/>
            <p:nvPr/>
          </p:nvSpPr>
          <p:spPr>
            <a:xfrm>
              <a:off x="15144446" y="2542744"/>
              <a:ext cx="192678" cy="106719"/>
            </a:xfrm>
            <a:prstGeom prst="rect">
              <a:avLst/>
            </a:prstGeom>
            <a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3" name="object 13">
              <a:extLst>
                <a:ext uri="{FF2B5EF4-FFF2-40B4-BE49-F238E27FC236}">
                  <a16:creationId xmlns:a16="http://schemas.microsoft.com/office/drawing/2014/main" id="{066B0F2C-E5DF-704B-A18A-F55897F9141C}"/>
                </a:ext>
              </a:extLst>
            </p:cNvPr>
            <p:cNvSpPr/>
            <p:nvPr/>
          </p:nvSpPr>
          <p:spPr>
            <a:xfrm>
              <a:off x="15363480" y="2542744"/>
              <a:ext cx="59690" cy="104139"/>
            </a:xfrm>
            <a:custGeom>
              <a:avLst/>
              <a:gdLst/>
              <a:ahLst/>
              <a:cxnLst/>
              <a:rect l="l" t="t" r="r" b="b"/>
              <a:pathLst>
                <a:path w="59690" h="104139">
                  <a:moveTo>
                    <a:pt x="13999" y="2628"/>
                  </a:moveTo>
                  <a:lnTo>
                    <a:pt x="0" y="2628"/>
                  </a:lnTo>
                  <a:lnTo>
                    <a:pt x="0" y="104080"/>
                  </a:lnTo>
                  <a:lnTo>
                    <a:pt x="20878" y="104080"/>
                  </a:lnTo>
                  <a:lnTo>
                    <a:pt x="20878" y="24135"/>
                  </a:lnTo>
                  <a:lnTo>
                    <a:pt x="26794" y="21496"/>
                  </a:lnTo>
                  <a:lnTo>
                    <a:pt x="33674" y="19255"/>
                  </a:lnTo>
                  <a:lnTo>
                    <a:pt x="59443" y="19255"/>
                  </a:lnTo>
                  <a:lnTo>
                    <a:pt x="59443" y="8303"/>
                  </a:lnTo>
                  <a:lnTo>
                    <a:pt x="16020" y="8303"/>
                  </a:lnTo>
                  <a:lnTo>
                    <a:pt x="13999" y="2628"/>
                  </a:lnTo>
                  <a:close/>
                </a:path>
                <a:path w="59690" h="104139">
                  <a:moveTo>
                    <a:pt x="59443" y="19255"/>
                  </a:moveTo>
                  <a:lnTo>
                    <a:pt x="48501" y="19255"/>
                  </a:lnTo>
                  <a:lnTo>
                    <a:pt x="54364" y="20481"/>
                  </a:lnTo>
                  <a:lnTo>
                    <a:pt x="59443" y="22302"/>
                  </a:lnTo>
                  <a:lnTo>
                    <a:pt x="59443" y="19255"/>
                  </a:lnTo>
                  <a:close/>
                </a:path>
                <a:path w="59690" h="104139">
                  <a:moveTo>
                    <a:pt x="48909" y="0"/>
                  </a:moveTo>
                  <a:lnTo>
                    <a:pt x="44427" y="0"/>
                  </a:lnTo>
                  <a:lnTo>
                    <a:pt x="37022" y="527"/>
                  </a:lnTo>
                  <a:lnTo>
                    <a:pt x="29764" y="2098"/>
                  </a:lnTo>
                  <a:lnTo>
                    <a:pt x="22737" y="4695"/>
                  </a:lnTo>
                  <a:lnTo>
                    <a:pt x="16020" y="8303"/>
                  </a:lnTo>
                  <a:lnTo>
                    <a:pt x="59443" y="8303"/>
                  </a:lnTo>
                  <a:lnTo>
                    <a:pt x="59443" y="1612"/>
                  </a:lnTo>
                  <a:lnTo>
                    <a:pt x="54993" y="607"/>
                  </a:lnTo>
                  <a:lnTo>
                    <a:pt x="4890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4" name="object 14">
              <a:extLst>
                <a:ext uri="{FF2B5EF4-FFF2-40B4-BE49-F238E27FC236}">
                  <a16:creationId xmlns:a16="http://schemas.microsoft.com/office/drawing/2014/main" id="{F5949A49-32CF-984C-8B66-5F0F8599F7B8}"/>
                </a:ext>
              </a:extLst>
            </p:cNvPr>
            <p:cNvSpPr/>
            <p:nvPr/>
          </p:nvSpPr>
          <p:spPr>
            <a:xfrm>
              <a:off x="15501005" y="2542734"/>
              <a:ext cx="199600" cy="157440"/>
            </a:xfrm>
            <a:prstGeom prst="rect">
              <a:avLst/>
            </a:prstGeom>
            <a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5" name="object 15">
              <a:extLst>
                <a:ext uri="{FF2B5EF4-FFF2-40B4-BE49-F238E27FC236}">
                  <a16:creationId xmlns:a16="http://schemas.microsoft.com/office/drawing/2014/main" id="{ABFE3AD2-32C6-ED43-919B-CD3D7C50C9E1}"/>
                </a:ext>
              </a:extLst>
            </p:cNvPr>
            <p:cNvSpPr/>
            <p:nvPr/>
          </p:nvSpPr>
          <p:spPr>
            <a:xfrm>
              <a:off x="15844767" y="2542744"/>
              <a:ext cx="59690" cy="104139"/>
            </a:xfrm>
            <a:custGeom>
              <a:avLst/>
              <a:gdLst/>
              <a:ahLst/>
              <a:cxnLst/>
              <a:rect l="l" t="t" r="r" b="b"/>
              <a:pathLst>
                <a:path w="59690" h="104139">
                  <a:moveTo>
                    <a:pt x="14020" y="2628"/>
                  </a:moveTo>
                  <a:lnTo>
                    <a:pt x="0" y="2628"/>
                  </a:lnTo>
                  <a:lnTo>
                    <a:pt x="0" y="104080"/>
                  </a:lnTo>
                  <a:lnTo>
                    <a:pt x="20920" y="104080"/>
                  </a:lnTo>
                  <a:lnTo>
                    <a:pt x="20920" y="24135"/>
                  </a:lnTo>
                  <a:lnTo>
                    <a:pt x="26774" y="21496"/>
                  </a:lnTo>
                  <a:lnTo>
                    <a:pt x="33695" y="19255"/>
                  </a:lnTo>
                  <a:lnTo>
                    <a:pt x="59464" y="19255"/>
                  </a:lnTo>
                  <a:lnTo>
                    <a:pt x="59464" y="8303"/>
                  </a:lnTo>
                  <a:lnTo>
                    <a:pt x="16041" y="8303"/>
                  </a:lnTo>
                  <a:lnTo>
                    <a:pt x="14020" y="2628"/>
                  </a:lnTo>
                  <a:close/>
                </a:path>
                <a:path w="59690" h="104139">
                  <a:moveTo>
                    <a:pt x="59464" y="19255"/>
                  </a:moveTo>
                  <a:lnTo>
                    <a:pt x="48501" y="19255"/>
                  </a:lnTo>
                  <a:lnTo>
                    <a:pt x="54385" y="20481"/>
                  </a:lnTo>
                  <a:lnTo>
                    <a:pt x="59464" y="22302"/>
                  </a:lnTo>
                  <a:lnTo>
                    <a:pt x="59464" y="19255"/>
                  </a:lnTo>
                  <a:close/>
                </a:path>
                <a:path w="59690" h="104139">
                  <a:moveTo>
                    <a:pt x="48909" y="0"/>
                  </a:moveTo>
                  <a:lnTo>
                    <a:pt x="44427" y="0"/>
                  </a:lnTo>
                  <a:lnTo>
                    <a:pt x="37025" y="527"/>
                  </a:lnTo>
                  <a:lnTo>
                    <a:pt x="29775" y="2098"/>
                  </a:lnTo>
                  <a:lnTo>
                    <a:pt x="22754" y="4695"/>
                  </a:lnTo>
                  <a:lnTo>
                    <a:pt x="16041" y="8303"/>
                  </a:lnTo>
                  <a:lnTo>
                    <a:pt x="59464" y="8303"/>
                  </a:lnTo>
                  <a:lnTo>
                    <a:pt x="59464" y="1612"/>
                  </a:lnTo>
                  <a:lnTo>
                    <a:pt x="54993" y="607"/>
                  </a:lnTo>
                  <a:lnTo>
                    <a:pt x="4890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6" name="object 16">
              <a:extLst>
                <a:ext uri="{FF2B5EF4-FFF2-40B4-BE49-F238E27FC236}">
                  <a16:creationId xmlns:a16="http://schemas.microsoft.com/office/drawing/2014/main" id="{6EA42F7F-35EB-034A-977D-6915BDF3B4CC}"/>
                </a:ext>
              </a:extLst>
            </p:cNvPr>
            <p:cNvSpPr/>
            <p:nvPr/>
          </p:nvSpPr>
          <p:spPr>
            <a:xfrm>
              <a:off x="15924490" y="2542744"/>
              <a:ext cx="85630" cy="106719"/>
            </a:xfrm>
            <a:prstGeom prst="rect">
              <a:avLst/>
            </a:prstGeom>
            <a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7" name="object 17">
              <a:extLst>
                <a:ext uri="{FF2B5EF4-FFF2-40B4-BE49-F238E27FC236}">
                  <a16:creationId xmlns:a16="http://schemas.microsoft.com/office/drawing/2014/main" id="{856F3CDD-B521-754D-9F17-33D01AF2FC5D}"/>
                </a:ext>
              </a:extLst>
            </p:cNvPr>
            <p:cNvSpPr/>
            <p:nvPr/>
          </p:nvSpPr>
          <p:spPr>
            <a:xfrm>
              <a:off x="16083729" y="2542734"/>
              <a:ext cx="98991" cy="157440"/>
            </a:xfrm>
            <a:prstGeom prst="rect">
              <a:avLst/>
            </a:prstGeom>
            <a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26B44690-08F5-394D-9C32-DFA8AEB8E95B}"/>
                </a:ext>
              </a:extLst>
            </p:cNvPr>
            <p:cNvSpPr/>
            <p:nvPr/>
          </p:nvSpPr>
          <p:spPr>
            <a:xfrm>
              <a:off x="16203392" y="2494664"/>
              <a:ext cx="81327" cy="152152"/>
            </a:xfrm>
            <a:prstGeom prst="rect">
              <a:avLst/>
            </a:prstGeom>
            <a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9" name="object 19">
              <a:extLst>
                <a:ext uri="{FF2B5EF4-FFF2-40B4-BE49-F238E27FC236}">
                  <a16:creationId xmlns:a16="http://schemas.microsoft.com/office/drawing/2014/main" id="{82F79D31-ADC0-544C-BE4D-9AF0D38D20F9}"/>
                </a:ext>
              </a:extLst>
            </p:cNvPr>
            <p:cNvSpPr/>
            <p:nvPr/>
          </p:nvSpPr>
          <p:spPr>
            <a:xfrm>
              <a:off x="16435528" y="2542744"/>
              <a:ext cx="162704" cy="106719"/>
            </a:xfrm>
            <a:prstGeom prst="rect">
              <a:avLst/>
            </a:prstGeom>
            <a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20" name="object 20">
              <a:extLst>
                <a:ext uri="{FF2B5EF4-FFF2-40B4-BE49-F238E27FC236}">
                  <a16:creationId xmlns:a16="http://schemas.microsoft.com/office/drawing/2014/main" id="{749719E9-7629-0D43-B014-D5EF4E13BC42}"/>
                </a:ext>
              </a:extLst>
            </p:cNvPr>
            <p:cNvSpPr/>
            <p:nvPr/>
          </p:nvSpPr>
          <p:spPr>
            <a:xfrm>
              <a:off x="16733088" y="2542749"/>
              <a:ext cx="81128" cy="106708"/>
            </a:xfrm>
            <a:prstGeom prst="rect">
              <a:avLst/>
            </a:prstGeom>
            <a:blipFill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21" name="object 21">
              <a:extLst>
                <a:ext uri="{FF2B5EF4-FFF2-40B4-BE49-F238E27FC236}">
                  <a16:creationId xmlns:a16="http://schemas.microsoft.com/office/drawing/2014/main" id="{8D20C62F-8BDC-8949-9BEF-237EE7D4E653}"/>
                </a:ext>
              </a:extLst>
            </p:cNvPr>
            <p:cNvSpPr/>
            <p:nvPr/>
          </p:nvSpPr>
          <p:spPr>
            <a:xfrm>
              <a:off x="16842601" y="2494645"/>
              <a:ext cx="87442" cy="154801"/>
            </a:xfrm>
            <a:prstGeom prst="rect">
              <a:avLst/>
            </a:prstGeom>
            <a:blipFill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22" name="object 22">
              <a:extLst>
                <a:ext uri="{FF2B5EF4-FFF2-40B4-BE49-F238E27FC236}">
                  <a16:creationId xmlns:a16="http://schemas.microsoft.com/office/drawing/2014/main" id="{27E8ACD7-1E2A-0C4F-93E3-0886E0B9D56E}"/>
                </a:ext>
              </a:extLst>
            </p:cNvPr>
            <p:cNvSpPr/>
            <p:nvPr/>
          </p:nvSpPr>
          <p:spPr>
            <a:xfrm>
              <a:off x="17003059" y="2545373"/>
              <a:ext cx="94353" cy="152162"/>
            </a:xfrm>
            <a:prstGeom prst="rect">
              <a:avLst/>
            </a:prstGeom>
            <a:blipFill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23" name="object 23">
              <a:extLst>
                <a:ext uri="{FF2B5EF4-FFF2-40B4-BE49-F238E27FC236}">
                  <a16:creationId xmlns:a16="http://schemas.microsoft.com/office/drawing/2014/main" id="{0C46363A-0B6B-6D4B-8603-8D0B46C19AAC}"/>
                </a:ext>
              </a:extLst>
            </p:cNvPr>
            <p:cNvSpPr/>
            <p:nvPr/>
          </p:nvSpPr>
          <p:spPr>
            <a:xfrm>
              <a:off x="15056164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491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24" name="object 24">
              <a:extLst>
                <a:ext uri="{FF2B5EF4-FFF2-40B4-BE49-F238E27FC236}">
                  <a16:creationId xmlns:a16="http://schemas.microsoft.com/office/drawing/2014/main" id="{484959F2-EC34-1F4F-904E-E9EE95EC816F}"/>
                </a:ext>
              </a:extLst>
            </p:cNvPr>
            <p:cNvSpPr/>
            <p:nvPr/>
          </p:nvSpPr>
          <p:spPr>
            <a:xfrm>
              <a:off x="16637037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5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25" name="object 25">
              <a:extLst>
                <a:ext uri="{FF2B5EF4-FFF2-40B4-BE49-F238E27FC236}">
                  <a16:creationId xmlns:a16="http://schemas.microsoft.com/office/drawing/2014/main" id="{63E8624E-5A3B-0D45-BAD7-9DA598F7C26D}"/>
                </a:ext>
              </a:extLst>
            </p:cNvPr>
            <p:cNvSpPr/>
            <p:nvPr/>
          </p:nvSpPr>
          <p:spPr>
            <a:xfrm>
              <a:off x="16968897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501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26" name="object 26">
              <a:extLst>
                <a:ext uri="{FF2B5EF4-FFF2-40B4-BE49-F238E27FC236}">
                  <a16:creationId xmlns:a16="http://schemas.microsoft.com/office/drawing/2014/main" id="{F585B409-CD62-9246-9092-11DDAC75585B}"/>
                </a:ext>
              </a:extLst>
            </p:cNvPr>
            <p:cNvSpPr/>
            <p:nvPr/>
          </p:nvSpPr>
          <p:spPr>
            <a:xfrm>
              <a:off x="16312543" y="2512005"/>
              <a:ext cx="51435" cy="137795"/>
            </a:xfrm>
            <a:custGeom>
              <a:avLst/>
              <a:gdLst/>
              <a:ahLst/>
              <a:cxnLst/>
              <a:rect l="l" t="t" r="r" b="b"/>
              <a:pathLst>
                <a:path w="51434" h="137794">
                  <a:moveTo>
                    <a:pt x="20805" y="0"/>
                  </a:moveTo>
                  <a:lnTo>
                    <a:pt x="0" y="5758"/>
                  </a:lnTo>
                  <a:lnTo>
                    <a:pt x="0" y="108593"/>
                  </a:lnTo>
                  <a:lnTo>
                    <a:pt x="2937" y="121631"/>
                  </a:lnTo>
                  <a:lnTo>
                    <a:pt x="10667" y="130611"/>
                  </a:lnTo>
                  <a:lnTo>
                    <a:pt x="21565" y="135801"/>
                  </a:lnTo>
                  <a:lnTo>
                    <a:pt x="34009" y="137472"/>
                  </a:lnTo>
                  <a:lnTo>
                    <a:pt x="41852" y="137472"/>
                  </a:lnTo>
                  <a:lnTo>
                    <a:pt x="46982" y="136205"/>
                  </a:lnTo>
                  <a:lnTo>
                    <a:pt x="46982" y="117849"/>
                  </a:lnTo>
                  <a:lnTo>
                    <a:pt x="26585" y="117849"/>
                  </a:lnTo>
                  <a:lnTo>
                    <a:pt x="20805" y="115399"/>
                  </a:lnTo>
                  <a:lnTo>
                    <a:pt x="20805" y="49851"/>
                  </a:lnTo>
                  <a:lnTo>
                    <a:pt x="51317" y="49851"/>
                  </a:lnTo>
                  <a:lnTo>
                    <a:pt x="51317" y="31726"/>
                  </a:lnTo>
                  <a:lnTo>
                    <a:pt x="20805" y="31726"/>
                  </a:lnTo>
                  <a:lnTo>
                    <a:pt x="20805" y="0"/>
                  </a:lnTo>
                  <a:close/>
                </a:path>
                <a:path w="51434" h="137794">
                  <a:moveTo>
                    <a:pt x="46982" y="117054"/>
                  </a:moveTo>
                  <a:lnTo>
                    <a:pt x="44731" y="117462"/>
                  </a:lnTo>
                  <a:lnTo>
                    <a:pt x="39559" y="117849"/>
                  </a:lnTo>
                  <a:lnTo>
                    <a:pt x="46982" y="117849"/>
                  </a:lnTo>
                  <a:lnTo>
                    <a:pt x="46982" y="11705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27" name="object 27">
              <a:extLst>
                <a:ext uri="{FF2B5EF4-FFF2-40B4-BE49-F238E27FC236}">
                  <a16:creationId xmlns:a16="http://schemas.microsoft.com/office/drawing/2014/main" id="{3FAD4E42-952E-D149-99A0-372A21AD6CE7}"/>
                </a:ext>
              </a:extLst>
            </p:cNvPr>
            <p:cNvSpPr/>
            <p:nvPr/>
          </p:nvSpPr>
          <p:spPr>
            <a:xfrm>
              <a:off x="15771907" y="2491999"/>
              <a:ext cx="51435" cy="154940"/>
            </a:xfrm>
            <a:custGeom>
              <a:avLst/>
              <a:gdLst/>
              <a:ahLst/>
              <a:cxnLst/>
              <a:rect l="l" t="t" r="r" b="b"/>
              <a:pathLst>
                <a:path w="51434" h="154939">
                  <a:moveTo>
                    <a:pt x="41831" y="0"/>
                  </a:moveTo>
                  <a:lnTo>
                    <a:pt x="34030" y="0"/>
                  </a:lnTo>
                  <a:lnTo>
                    <a:pt x="21574" y="1670"/>
                  </a:lnTo>
                  <a:lnTo>
                    <a:pt x="10669" y="6861"/>
                  </a:lnTo>
                  <a:lnTo>
                    <a:pt x="2937" y="15840"/>
                  </a:lnTo>
                  <a:lnTo>
                    <a:pt x="0" y="28878"/>
                  </a:lnTo>
                  <a:lnTo>
                    <a:pt x="0" y="154812"/>
                  </a:lnTo>
                  <a:lnTo>
                    <a:pt x="20805" y="154812"/>
                  </a:lnTo>
                  <a:lnTo>
                    <a:pt x="20805" y="71505"/>
                  </a:lnTo>
                  <a:lnTo>
                    <a:pt x="51338" y="71505"/>
                  </a:lnTo>
                  <a:lnTo>
                    <a:pt x="51338" y="53380"/>
                  </a:lnTo>
                  <a:lnTo>
                    <a:pt x="20805" y="53380"/>
                  </a:lnTo>
                  <a:lnTo>
                    <a:pt x="20805" y="22072"/>
                  </a:lnTo>
                  <a:lnTo>
                    <a:pt x="26564" y="19601"/>
                  </a:lnTo>
                  <a:lnTo>
                    <a:pt x="46982" y="19601"/>
                  </a:lnTo>
                  <a:lnTo>
                    <a:pt x="46982" y="1246"/>
                  </a:lnTo>
                  <a:lnTo>
                    <a:pt x="41831" y="0"/>
                  </a:lnTo>
                  <a:close/>
                </a:path>
                <a:path w="51434" h="154939">
                  <a:moveTo>
                    <a:pt x="46982" y="19601"/>
                  </a:moveTo>
                  <a:lnTo>
                    <a:pt x="39569" y="19601"/>
                  </a:lnTo>
                  <a:lnTo>
                    <a:pt x="44721" y="20009"/>
                  </a:lnTo>
                  <a:lnTo>
                    <a:pt x="46982" y="20418"/>
                  </a:lnTo>
                  <a:lnTo>
                    <a:pt x="46982" y="1960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28" name="object 28">
              <a:extLst>
                <a:ext uri="{FF2B5EF4-FFF2-40B4-BE49-F238E27FC236}">
                  <a16:creationId xmlns:a16="http://schemas.microsoft.com/office/drawing/2014/main" id="{1AEE6AD3-D5D8-4240-A700-2B0E39D9FFC8}"/>
                </a:ext>
              </a:extLst>
            </p:cNvPr>
            <p:cNvSpPr/>
            <p:nvPr/>
          </p:nvSpPr>
          <p:spPr>
            <a:xfrm>
              <a:off x="17093362" y="1336135"/>
              <a:ext cx="612140" cy="353695"/>
            </a:xfrm>
            <a:custGeom>
              <a:avLst/>
              <a:gdLst/>
              <a:ahLst/>
              <a:cxnLst/>
              <a:rect l="l" t="t" r="r" b="b"/>
              <a:pathLst>
                <a:path w="612140" h="353694">
                  <a:moveTo>
                    <a:pt x="611656" y="0"/>
                  </a:moveTo>
                  <a:lnTo>
                    <a:pt x="0" y="20"/>
                  </a:lnTo>
                  <a:lnTo>
                    <a:pt x="203910" y="353162"/>
                  </a:lnTo>
                  <a:lnTo>
                    <a:pt x="407767" y="353162"/>
                  </a:lnTo>
                  <a:lnTo>
                    <a:pt x="611656" y="0"/>
                  </a:lnTo>
                  <a:close/>
                </a:path>
              </a:pathLst>
            </a:custGeom>
            <a:solidFill>
              <a:srgbClr val="85BD3E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29" name="object 29">
              <a:extLst>
                <a:ext uri="{FF2B5EF4-FFF2-40B4-BE49-F238E27FC236}">
                  <a16:creationId xmlns:a16="http://schemas.microsoft.com/office/drawing/2014/main" id="{F0AF6F60-B5C8-034E-9CB0-F5F2FEE248E5}"/>
                </a:ext>
              </a:extLst>
            </p:cNvPr>
            <p:cNvSpPr/>
            <p:nvPr/>
          </p:nvSpPr>
          <p:spPr>
            <a:xfrm>
              <a:off x="17471866" y="1336132"/>
              <a:ext cx="1165860" cy="1009650"/>
            </a:xfrm>
            <a:custGeom>
              <a:avLst/>
              <a:gdLst/>
              <a:ahLst/>
              <a:cxnLst/>
              <a:rect l="l" t="t" r="r" b="b"/>
              <a:pathLst>
                <a:path w="1165859" h="1009650">
                  <a:moveTo>
                    <a:pt x="961363" y="0"/>
                  </a:moveTo>
                  <a:lnTo>
                    <a:pt x="378805" y="41"/>
                  </a:lnTo>
                  <a:lnTo>
                    <a:pt x="0" y="655665"/>
                  </a:lnTo>
                  <a:lnTo>
                    <a:pt x="204046" y="1009026"/>
                  </a:lnTo>
                  <a:lnTo>
                    <a:pt x="582683" y="353162"/>
                  </a:lnTo>
                  <a:lnTo>
                    <a:pt x="1165388" y="353162"/>
                  </a:lnTo>
                  <a:lnTo>
                    <a:pt x="961363" y="0"/>
                  </a:lnTo>
                  <a:close/>
                </a:path>
              </a:pathLst>
            </a:custGeom>
            <a:solidFill>
              <a:srgbClr val="E63023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125205B5-8411-4A45-A066-6B1F267005F4}"/>
                </a:ext>
              </a:extLst>
            </p:cNvPr>
            <p:cNvSpPr/>
            <p:nvPr/>
          </p:nvSpPr>
          <p:spPr>
            <a:xfrm>
              <a:off x="17602493" y="781197"/>
              <a:ext cx="1790700" cy="201930"/>
            </a:xfrm>
            <a:custGeom>
              <a:avLst/>
              <a:gdLst/>
              <a:ahLst/>
              <a:cxnLst/>
              <a:rect l="l" t="t" r="r" b="b"/>
              <a:pathLst>
                <a:path w="1790700" h="201930">
                  <a:moveTo>
                    <a:pt x="328136" y="0"/>
                  </a:moveTo>
                  <a:lnTo>
                    <a:pt x="208370" y="0"/>
                  </a:lnTo>
                  <a:lnTo>
                    <a:pt x="208370" y="201784"/>
                  </a:lnTo>
                  <a:lnTo>
                    <a:pt x="258829" y="201784"/>
                  </a:lnTo>
                  <a:lnTo>
                    <a:pt x="258829" y="122991"/>
                  </a:lnTo>
                  <a:lnTo>
                    <a:pt x="364700" y="122991"/>
                  </a:lnTo>
                  <a:lnTo>
                    <a:pt x="359287" y="113609"/>
                  </a:lnTo>
                  <a:lnTo>
                    <a:pt x="369823" y="104711"/>
                  </a:lnTo>
                  <a:lnTo>
                    <a:pt x="377924" y="93525"/>
                  </a:lnTo>
                  <a:lnTo>
                    <a:pt x="383125" y="80510"/>
                  </a:lnTo>
                  <a:lnTo>
                    <a:pt x="383340" y="78824"/>
                  </a:lnTo>
                  <a:lnTo>
                    <a:pt x="258829" y="78824"/>
                  </a:lnTo>
                  <a:lnTo>
                    <a:pt x="258829" y="44145"/>
                  </a:lnTo>
                  <a:lnTo>
                    <a:pt x="382315" y="44145"/>
                  </a:lnTo>
                  <a:lnTo>
                    <a:pt x="380421" y="34716"/>
                  </a:lnTo>
                  <a:lnTo>
                    <a:pt x="368281" y="16647"/>
                  </a:lnTo>
                  <a:lnTo>
                    <a:pt x="350253" y="4466"/>
                  </a:lnTo>
                  <a:lnTo>
                    <a:pt x="328136" y="0"/>
                  </a:lnTo>
                  <a:close/>
                </a:path>
                <a:path w="1790700" h="201930">
                  <a:moveTo>
                    <a:pt x="364700" y="122991"/>
                  </a:moveTo>
                  <a:lnTo>
                    <a:pt x="313498" y="122991"/>
                  </a:lnTo>
                  <a:lnTo>
                    <a:pt x="358994" y="201784"/>
                  </a:lnTo>
                  <a:lnTo>
                    <a:pt x="410165" y="201784"/>
                  </a:lnTo>
                  <a:lnTo>
                    <a:pt x="364700" y="122991"/>
                  </a:lnTo>
                  <a:close/>
                </a:path>
                <a:path w="1790700" h="201930">
                  <a:moveTo>
                    <a:pt x="566139" y="0"/>
                  </a:moveTo>
                  <a:lnTo>
                    <a:pt x="512445" y="0"/>
                  </a:lnTo>
                  <a:lnTo>
                    <a:pt x="410165" y="201784"/>
                  </a:lnTo>
                  <a:lnTo>
                    <a:pt x="463849" y="201784"/>
                  </a:lnTo>
                  <a:lnTo>
                    <a:pt x="489398" y="151346"/>
                  </a:lnTo>
                  <a:lnTo>
                    <a:pt x="642861" y="151346"/>
                  </a:lnTo>
                  <a:lnTo>
                    <a:pt x="620472" y="107179"/>
                  </a:lnTo>
                  <a:lnTo>
                    <a:pt x="511785" y="107179"/>
                  </a:lnTo>
                  <a:lnTo>
                    <a:pt x="539282" y="52898"/>
                  </a:lnTo>
                  <a:lnTo>
                    <a:pt x="592955" y="52898"/>
                  </a:lnTo>
                  <a:lnTo>
                    <a:pt x="566139" y="0"/>
                  </a:lnTo>
                  <a:close/>
                </a:path>
                <a:path w="1790700" h="201930">
                  <a:moveTo>
                    <a:pt x="642861" y="151346"/>
                  </a:moveTo>
                  <a:lnTo>
                    <a:pt x="589186" y="151346"/>
                  </a:lnTo>
                  <a:lnTo>
                    <a:pt x="614756" y="201784"/>
                  </a:lnTo>
                  <a:lnTo>
                    <a:pt x="668429" y="201784"/>
                  </a:lnTo>
                  <a:lnTo>
                    <a:pt x="642861" y="151346"/>
                  </a:lnTo>
                  <a:close/>
                </a:path>
                <a:path w="1790700" h="201930">
                  <a:moveTo>
                    <a:pt x="592955" y="52898"/>
                  </a:moveTo>
                  <a:lnTo>
                    <a:pt x="539282" y="52898"/>
                  </a:lnTo>
                  <a:lnTo>
                    <a:pt x="566799" y="107179"/>
                  </a:lnTo>
                  <a:lnTo>
                    <a:pt x="620472" y="107179"/>
                  </a:lnTo>
                  <a:lnTo>
                    <a:pt x="592955" y="52898"/>
                  </a:lnTo>
                  <a:close/>
                </a:path>
                <a:path w="1790700" h="201930">
                  <a:moveTo>
                    <a:pt x="382315" y="44145"/>
                  </a:moveTo>
                  <a:lnTo>
                    <a:pt x="328817" y="44145"/>
                  </a:lnTo>
                  <a:lnTo>
                    <a:pt x="334492" y="49851"/>
                  </a:lnTo>
                  <a:lnTo>
                    <a:pt x="334618" y="73149"/>
                  </a:lnTo>
                  <a:lnTo>
                    <a:pt x="328911" y="78824"/>
                  </a:lnTo>
                  <a:lnTo>
                    <a:pt x="383340" y="78824"/>
                  </a:lnTo>
                  <a:lnTo>
                    <a:pt x="384962" y="66123"/>
                  </a:lnTo>
                  <a:lnTo>
                    <a:pt x="384867" y="56846"/>
                  </a:lnTo>
                  <a:lnTo>
                    <a:pt x="382315" y="44145"/>
                  </a:lnTo>
                  <a:close/>
                </a:path>
                <a:path w="1790700" h="201930">
                  <a:moveTo>
                    <a:pt x="1582820" y="0"/>
                  </a:moveTo>
                  <a:lnTo>
                    <a:pt x="1418888" y="0"/>
                  </a:lnTo>
                  <a:lnTo>
                    <a:pt x="1418888" y="201784"/>
                  </a:lnTo>
                  <a:lnTo>
                    <a:pt x="1582820" y="201784"/>
                  </a:lnTo>
                  <a:lnTo>
                    <a:pt x="1582820" y="157618"/>
                  </a:lnTo>
                  <a:lnTo>
                    <a:pt x="1469295" y="157618"/>
                  </a:lnTo>
                  <a:lnTo>
                    <a:pt x="1469295" y="122970"/>
                  </a:lnTo>
                  <a:lnTo>
                    <a:pt x="1576548" y="122970"/>
                  </a:lnTo>
                  <a:lnTo>
                    <a:pt x="1576548" y="78803"/>
                  </a:lnTo>
                  <a:lnTo>
                    <a:pt x="1469295" y="78803"/>
                  </a:lnTo>
                  <a:lnTo>
                    <a:pt x="1469295" y="44134"/>
                  </a:lnTo>
                  <a:lnTo>
                    <a:pt x="1582820" y="44134"/>
                  </a:lnTo>
                  <a:lnTo>
                    <a:pt x="1582820" y="0"/>
                  </a:lnTo>
                  <a:close/>
                </a:path>
                <a:path w="1790700" h="201930">
                  <a:moveTo>
                    <a:pt x="955436" y="150529"/>
                  </a:moveTo>
                  <a:lnTo>
                    <a:pt x="933301" y="188800"/>
                  </a:lnTo>
                  <a:lnTo>
                    <a:pt x="946596" y="194124"/>
                  </a:lnTo>
                  <a:lnTo>
                    <a:pt x="960510" y="198071"/>
                  </a:lnTo>
                  <a:lnTo>
                    <a:pt x="974981" y="200531"/>
                  </a:lnTo>
                  <a:lnTo>
                    <a:pt x="989948" y="201397"/>
                  </a:lnTo>
                  <a:lnTo>
                    <a:pt x="1065496" y="201376"/>
                  </a:lnTo>
                  <a:lnTo>
                    <a:pt x="1087569" y="196917"/>
                  </a:lnTo>
                  <a:lnTo>
                    <a:pt x="1105565" y="184757"/>
                  </a:lnTo>
                  <a:lnTo>
                    <a:pt x="1117683" y="166721"/>
                  </a:lnTo>
                  <a:lnTo>
                    <a:pt x="1119570" y="157335"/>
                  </a:lnTo>
                  <a:lnTo>
                    <a:pt x="989948" y="157335"/>
                  </a:lnTo>
                  <a:lnTo>
                    <a:pt x="980897" y="156875"/>
                  </a:lnTo>
                  <a:lnTo>
                    <a:pt x="972092" y="155558"/>
                  </a:lnTo>
                  <a:lnTo>
                    <a:pt x="963587" y="153427"/>
                  </a:lnTo>
                  <a:lnTo>
                    <a:pt x="955436" y="150529"/>
                  </a:lnTo>
                  <a:close/>
                </a:path>
                <a:path w="1790700" h="201930">
                  <a:moveTo>
                    <a:pt x="1065464" y="0"/>
                  </a:moveTo>
                  <a:lnTo>
                    <a:pt x="989948" y="0"/>
                  </a:lnTo>
                  <a:lnTo>
                    <a:pt x="967867" y="4455"/>
                  </a:lnTo>
                  <a:lnTo>
                    <a:pt x="949865" y="16610"/>
                  </a:lnTo>
                  <a:lnTo>
                    <a:pt x="937742" y="34645"/>
                  </a:lnTo>
                  <a:lnTo>
                    <a:pt x="933301" y="56741"/>
                  </a:lnTo>
                  <a:lnTo>
                    <a:pt x="933301" y="65966"/>
                  </a:lnTo>
                  <a:lnTo>
                    <a:pt x="937742" y="88065"/>
                  </a:lnTo>
                  <a:lnTo>
                    <a:pt x="949865" y="106108"/>
                  </a:lnTo>
                  <a:lnTo>
                    <a:pt x="967867" y="118270"/>
                  </a:lnTo>
                  <a:lnTo>
                    <a:pt x="989948" y="122729"/>
                  </a:lnTo>
                  <a:lnTo>
                    <a:pt x="1066176" y="122729"/>
                  </a:lnTo>
                  <a:lnTo>
                    <a:pt x="1071852" y="128393"/>
                  </a:lnTo>
                  <a:lnTo>
                    <a:pt x="1071852" y="151628"/>
                  </a:lnTo>
                  <a:lnTo>
                    <a:pt x="1066176" y="157314"/>
                  </a:lnTo>
                  <a:lnTo>
                    <a:pt x="989948" y="157335"/>
                  </a:lnTo>
                  <a:lnTo>
                    <a:pt x="1119570" y="157335"/>
                  </a:lnTo>
                  <a:lnTo>
                    <a:pt x="1122122" y="144634"/>
                  </a:lnTo>
                  <a:lnTo>
                    <a:pt x="1122122" y="135388"/>
                  </a:lnTo>
                  <a:lnTo>
                    <a:pt x="1117683" y="113313"/>
                  </a:lnTo>
                  <a:lnTo>
                    <a:pt x="1105565" y="95283"/>
                  </a:lnTo>
                  <a:lnTo>
                    <a:pt x="1087569" y="83126"/>
                  </a:lnTo>
                  <a:lnTo>
                    <a:pt x="1065496" y="78667"/>
                  </a:lnTo>
                  <a:lnTo>
                    <a:pt x="989247" y="78667"/>
                  </a:lnTo>
                  <a:lnTo>
                    <a:pt x="983551" y="72992"/>
                  </a:lnTo>
                  <a:lnTo>
                    <a:pt x="983551" y="49736"/>
                  </a:lnTo>
                  <a:lnTo>
                    <a:pt x="989247" y="44061"/>
                  </a:lnTo>
                  <a:lnTo>
                    <a:pt x="1096919" y="44061"/>
                  </a:lnTo>
                  <a:lnTo>
                    <a:pt x="1096919" y="3120"/>
                  </a:lnTo>
                  <a:lnTo>
                    <a:pt x="1089567" y="1744"/>
                  </a:lnTo>
                  <a:lnTo>
                    <a:pt x="1081738" y="770"/>
                  </a:lnTo>
                  <a:lnTo>
                    <a:pt x="1073635" y="191"/>
                  </a:lnTo>
                  <a:lnTo>
                    <a:pt x="1065464" y="0"/>
                  </a:lnTo>
                  <a:close/>
                </a:path>
                <a:path w="1790700" h="201930">
                  <a:moveTo>
                    <a:pt x="1096919" y="44061"/>
                  </a:moveTo>
                  <a:lnTo>
                    <a:pt x="1065464" y="44061"/>
                  </a:lnTo>
                  <a:lnTo>
                    <a:pt x="1072436" y="44315"/>
                  </a:lnTo>
                  <a:lnTo>
                    <a:pt x="1081957" y="44998"/>
                  </a:lnTo>
                  <a:lnTo>
                    <a:pt x="1091096" y="45996"/>
                  </a:lnTo>
                  <a:lnTo>
                    <a:pt x="1096919" y="47192"/>
                  </a:lnTo>
                  <a:lnTo>
                    <a:pt x="1096919" y="44061"/>
                  </a:lnTo>
                  <a:close/>
                </a:path>
                <a:path w="1790700" h="201930">
                  <a:moveTo>
                    <a:pt x="1639614" y="0"/>
                  </a:moveTo>
                  <a:lnTo>
                    <a:pt x="1639614" y="201784"/>
                  </a:lnTo>
                  <a:lnTo>
                    <a:pt x="1690074" y="201784"/>
                  </a:lnTo>
                  <a:lnTo>
                    <a:pt x="1690074" y="44145"/>
                  </a:lnTo>
                  <a:lnTo>
                    <a:pt x="1765150" y="44145"/>
                  </a:lnTo>
                  <a:lnTo>
                    <a:pt x="1790667" y="31"/>
                  </a:lnTo>
                  <a:lnTo>
                    <a:pt x="1639614" y="0"/>
                  </a:lnTo>
                  <a:close/>
                </a:path>
                <a:path w="1790700" h="201930">
                  <a:moveTo>
                    <a:pt x="1217093" y="0"/>
                  </a:moveTo>
                  <a:lnTo>
                    <a:pt x="1160341" y="0"/>
                  </a:lnTo>
                  <a:lnTo>
                    <a:pt x="1160341" y="201784"/>
                  </a:lnTo>
                  <a:lnTo>
                    <a:pt x="1210758" y="201784"/>
                  </a:lnTo>
                  <a:lnTo>
                    <a:pt x="1210758" y="69589"/>
                  </a:lnTo>
                  <a:lnTo>
                    <a:pt x="1266900" y="69589"/>
                  </a:lnTo>
                  <a:lnTo>
                    <a:pt x="1217093" y="0"/>
                  </a:lnTo>
                  <a:close/>
                </a:path>
                <a:path w="1790700" h="201930">
                  <a:moveTo>
                    <a:pt x="1266900" y="69589"/>
                  </a:moveTo>
                  <a:lnTo>
                    <a:pt x="1210758" y="69589"/>
                  </a:lnTo>
                  <a:lnTo>
                    <a:pt x="1305363" y="201784"/>
                  </a:lnTo>
                  <a:lnTo>
                    <a:pt x="1362136" y="201784"/>
                  </a:lnTo>
                  <a:lnTo>
                    <a:pt x="1362136" y="132194"/>
                  </a:lnTo>
                  <a:lnTo>
                    <a:pt x="1311708" y="132194"/>
                  </a:lnTo>
                  <a:lnTo>
                    <a:pt x="1266900" y="69589"/>
                  </a:lnTo>
                  <a:close/>
                </a:path>
                <a:path w="1790700" h="201930">
                  <a:moveTo>
                    <a:pt x="1362136" y="188"/>
                  </a:moveTo>
                  <a:lnTo>
                    <a:pt x="1311708" y="188"/>
                  </a:lnTo>
                  <a:lnTo>
                    <a:pt x="1311708" y="132194"/>
                  </a:lnTo>
                  <a:lnTo>
                    <a:pt x="1362136" y="132194"/>
                  </a:lnTo>
                  <a:lnTo>
                    <a:pt x="1362136" y="188"/>
                  </a:lnTo>
                  <a:close/>
                </a:path>
                <a:path w="1790700" h="201930">
                  <a:moveTo>
                    <a:pt x="151607" y="44145"/>
                  </a:moveTo>
                  <a:lnTo>
                    <a:pt x="101138" y="44145"/>
                  </a:lnTo>
                  <a:lnTo>
                    <a:pt x="101138" y="201784"/>
                  </a:lnTo>
                  <a:lnTo>
                    <a:pt x="151607" y="201784"/>
                  </a:lnTo>
                  <a:lnTo>
                    <a:pt x="151607" y="44145"/>
                  </a:lnTo>
                  <a:close/>
                </a:path>
                <a:path w="1790700" h="201930">
                  <a:moveTo>
                    <a:pt x="151607" y="0"/>
                  </a:moveTo>
                  <a:lnTo>
                    <a:pt x="0" y="31"/>
                  </a:lnTo>
                  <a:lnTo>
                    <a:pt x="25496" y="44166"/>
                  </a:lnTo>
                  <a:lnTo>
                    <a:pt x="151607" y="44145"/>
                  </a:lnTo>
                  <a:lnTo>
                    <a:pt x="151607" y="0"/>
                  </a:lnTo>
                  <a:close/>
                </a:path>
                <a:path w="1790700" h="201930">
                  <a:moveTo>
                    <a:pt x="744092" y="0"/>
                  </a:moveTo>
                  <a:lnTo>
                    <a:pt x="687350" y="0"/>
                  </a:lnTo>
                  <a:lnTo>
                    <a:pt x="687350" y="201784"/>
                  </a:lnTo>
                  <a:lnTo>
                    <a:pt x="737768" y="201784"/>
                  </a:lnTo>
                  <a:lnTo>
                    <a:pt x="737768" y="69589"/>
                  </a:lnTo>
                  <a:lnTo>
                    <a:pt x="793893" y="69589"/>
                  </a:lnTo>
                  <a:lnTo>
                    <a:pt x="744092" y="0"/>
                  </a:lnTo>
                  <a:close/>
                </a:path>
                <a:path w="1790700" h="201930">
                  <a:moveTo>
                    <a:pt x="793893" y="69589"/>
                  </a:moveTo>
                  <a:lnTo>
                    <a:pt x="737768" y="69589"/>
                  </a:lnTo>
                  <a:lnTo>
                    <a:pt x="832372" y="201784"/>
                  </a:lnTo>
                  <a:lnTo>
                    <a:pt x="889145" y="201784"/>
                  </a:lnTo>
                  <a:lnTo>
                    <a:pt x="889145" y="132194"/>
                  </a:lnTo>
                  <a:lnTo>
                    <a:pt x="838696" y="132194"/>
                  </a:lnTo>
                  <a:lnTo>
                    <a:pt x="793893" y="69589"/>
                  </a:lnTo>
                  <a:close/>
                </a:path>
                <a:path w="1790700" h="201930">
                  <a:moveTo>
                    <a:pt x="889145" y="188"/>
                  </a:moveTo>
                  <a:lnTo>
                    <a:pt x="838696" y="188"/>
                  </a:lnTo>
                  <a:lnTo>
                    <a:pt x="838696" y="132194"/>
                  </a:lnTo>
                  <a:lnTo>
                    <a:pt x="889145" y="132194"/>
                  </a:lnTo>
                  <a:lnTo>
                    <a:pt x="889145" y="188"/>
                  </a:lnTo>
                  <a:close/>
                </a:path>
              </a:pathLst>
            </a:custGeom>
            <a:solidFill>
              <a:srgbClr val="E63023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</p:grpSp>
      <p:sp>
        <p:nvSpPr>
          <p:cNvPr id="31" name="object 4">
            <a:extLst>
              <a:ext uri="{FF2B5EF4-FFF2-40B4-BE49-F238E27FC236}">
                <a16:creationId xmlns:a16="http://schemas.microsoft.com/office/drawing/2014/main" id="{61CF7A6D-5685-6042-A629-3C5635BBC234}"/>
              </a:ext>
            </a:extLst>
          </p:cNvPr>
          <p:cNvSpPr/>
          <p:nvPr userDrawn="1"/>
        </p:nvSpPr>
        <p:spPr>
          <a:xfrm>
            <a:off x="635835" y="2664176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1092" dirty="0"/>
          </a:p>
        </p:txBody>
      </p:sp>
    </p:spTree>
    <p:extLst>
      <p:ext uri="{BB962C8B-B14F-4D97-AF65-F5344CB8AC3E}">
        <p14:creationId xmlns:p14="http://schemas.microsoft.com/office/powerpoint/2010/main" val="85309655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2487081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CONTENTS SLIDE</a:t>
            </a:r>
            <a:endParaRPr lang="en-ZA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7" y="2085874"/>
            <a:ext cx="2995808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17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000" dirty="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600" dirty="0"/>
              <a:t>Normal text here and here and here and here</a:t>
            </a:r>
            <a:endParaRPr lang="en-GB" sz="2000" dirty="0"/>
          </a:p>
          <a:p>
            <a:pPr marL="197049" marR="3008">
              <a:lnSpc>
                <a:spcPct val="100600"/>
              </a:lnSpc>
            </a:pPr>
            <a:endParaRPr lang="en-GB" sz="1600" dirty="0"/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B7093058-1C72-42EE-AFD4-C6A337F2FC13}"/>
              </a:ext>
            </a:extLst>
          </p:cNvPr>
          <p:cNvSpPr/>
          <p:nvPr userDrawn="1"/>
        </p:nvSpPr>
        <p:spPr>
          <a:xfrm>
            <a:off x="8580474" y="3407791"/>
            <a:ext cx="3205788" cy="3090186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A53F04-AED7-452A-9F24-9297FB349A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11554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4552684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499" y="152915"/>
            <a:ext cx="10068389" cy="72010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 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7499" y="1200482"/>
            <a:ext cx="10971067" cy="52996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7496572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BEC5ABC-23EE-084A-85FF-B2E1A9D42E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82" y="0"/>
            <a:ext cx="12186639" cy="6857760"/>
          </a:xfrm>
          <a:prstGeom prst="rect">
            <a:avLst/>
          </a:prstGeom>
        </p:spPr>
      </p:pic>
      <p:sp>
        <p:nvSpPr>
          <p:cNvPr id="9" name="object 11">
            <a:extLst>
              <a:ext uri="{FF2B5EF4-FFF2-40B4-BE49-F238E27FC236}">
                <a16:creationId xmlns:a16="http://schemas.microsoft.com/office/drawing/2014/main" id="{B1AAE19E-3061-7C40-AEC4-9EE6CCAF43D1}"/>
              </a:ext>
            </a:extLst>
          </p:cNvPr>
          <p:cNvSpPr/>
          <p:nvPr userDrawn="1"/>
        </p:nvSpPr>
        <p:spPr>
          <a:xfrm>
            <a:off x="635835" y="3931064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456D8E82-4B17-8A44-A98F-D28F51A811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84575" y="4113726"/>
            <a:ext cx="7012180" cy="110331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3320" b="1" i="0">
                <a:solidFill>
                  <a:schemeClr val="bg1"/>
                </a:solidFill>
                <a:latin typeface="Tahoma Regular"/>
              </a:defRPr>
            </a:lvl1pPr>
          </a:lstStyle>
          <a:p>
            <a:pPr lvl="0"/>
            <a:r>
              <a:rPr lang="en-US" dirty="0"/>
              <a:t>DIVIDER TITLE GOES HERE</a:t>
            </a:r>
          </a:p>
          <a:p>
            <a:pPr lvl="0"/>
            <a:r>
              <a:rPr lang="en-US" dirty="0"/>
              <a:t>ON TWO LINES IF NECESSARY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273F8075-A63D-2243-8DDD-A3E491BD42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84371" y="5217038"/>
            <a:ext cx="6248013" cy="15182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 b="0" i="0">
                <a:solidFill>
                  <a:schemeClr val="bg1"/>
                </a:solidFill>
                <a:latin typeface="Tahoma Regular"/>
              </a:defRPr>
            </a:lvl1pPr>
            <a:lvl2pPr marL="446410" indent="0">
              <a:buNone/>
              <a:defRPr>
                <a:solidFill>
                  <a:schemeClr val="bg1"/>
                </a:solidFill>
              </a:defRPr>
            </a:lvl2pPr>
            <a:lvl3pPr marL="892820" indent="0">
              <a:buNone/>
              <a:defRPr>
                <a:solidFill>
                  <a:schemeClr val="bg1"/>
                </a:solidFill>
              </a:defRPr>
            </a:lvl3pPr>
            <a:lvl4pPr marL="1339230" indent="0">
              <a:buNone/>
              <a:defRPr>
                <a:solidFill>
                  <a:schemeClr val="bg1"/>
                </a:solidFill>
              </a:defRPr>
            </a:lvl4pPr>
            <a:lvl5pPr marL="178564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ation to:</a:t>
            </a:r>
          </a:p>
          <a:p>
            <a:pPr lvl="0"/>
            <a:r>
              <a:rPr lang="en-US" dirty="0"/>
              <a:t>Company name goes here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2020/00/00</a:t>
            </a:r>
          </a:p>
        </p:txBody>
      </p:sp>
    </p:spTree>
    <p:extLst>
      <p:ext uri="{BB962C8B-B14F-4D97-AF65-F5344CB8AC3E}">
        <p14:creationId xmlns:p14="http://schemas.microsoft.com/office/powerpoint/2010/main" val="23071227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1790118" y="1742881"/>
            <a:ext cx="3372238" cy="3372238"/>
          </a:xfrm>
          <a:custGeom>
            <a:avLst/>
            <a:gdLst>
              <a:gd name="connsiteX0" fmla="*/ 1686119 w 3372238"/>
              <a:gd name="connsiteY0" fmla="*/ 0 h 3372238"/>
              <a:gd name="connsiteX1" fmla="*/ 3372238 w 3372238"/>
              <a:gd name="connsiteY1" fmla="*/ 1686119 h 3372238"/>
              <a:gd name="connsiteX2" fmla="*/ 1686119 w 3372238"/>
              <a:gd name="connsiteY2" fmla="*/ 3372238 h 3372238"/>
              <a:gd name="connsiteX3" fmla="*/ 0 w 3372238"/>
              <a:gd name="connsiteY3" fmla="*/ 1686119 h 3372238"/>
              <a:gd name="connsiteX4" fmla="*/ 1686119 w 3372238"/>
              <a:gd name="connsiteY4" fmla="*/ 0 h 3372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72238" h="3372238">
                <a:moveTo>
                  <a:pt x="1686119" y="0"/>
                </a:moveTo>
                <a:cubicBezTo>
                  <a:pt x="2617337" y="0"/>
                  <a:pt x="3372238" y="754901"/>
                  <a:pt x="3372238" y="1686119"/>
                </a:cubicBezTo>
                <a:cubicBezTo>
                  <a:pt x="3372238" y="2617337"/>
                  <a:pt x="2617337" y="3372238"/>
                  <a:pt x="1686119" y="3372238"/>
                </a:cubicBezTo>
                <a:cubicBezTo>
                  <a:pt x="754901" y="3372238"/>
                  <a:pt x="0" y="2617337"/>
                  <a:pt x="0" y="1686119"/>
                </a:cubicBezTo>
                <a:cubicBezTo>
                  <a:pt x="0" y="754901"/>
                  <a:pt x="754901" y="0"/>
                  <a:pt x="1686119" y="0"/>
                </a:cubicBezTo>
                <a:close/>
              </a:path>
            </a:pathLst>
          </a:custGeom>
          <a:pattFill prst="solidDmnd">
            <a:fgClr>
              <a:schemeClr val="accent1">
                <a:lumMod val="40000"/>
                <a:lumOff val="6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65859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" Type="http://schemas.openxmlformats.org/officeDocument/2006/relationships/slideLayout" Target="../slideLayouts/slideLayout12.xml"/><Relationship Id="rId21" Type="http://schemas.openxmlformats.org/officeDocument/2006/relationships/tags" Target="../tags/tag12.xml"/><Relationship Id="rId34" Type="http://schemas.openxmlformats.org/officeDocument/2006/relationships/image" Target="../media/image22.png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33" Type="http://schemas.openxmlformats.org/officeDocument/2006/relationships/image" Target="../media/image21.emf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29" Type="http://schemas.openxmlformats.org/officeDocument/2006/relationships/tags" Target="../tags/tag20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24" Type="http://schemas.openxmlformats.org/officeDocument/2006/relationships/tags" Target="../tags/tag15.xml"/><Relationship Id="rId32" Type="http://schemas.openxmlformats.org/officeDocument/2006/relationships/oleObject" Target="../embeddings/oleObject6.bin"/><Relationship Id="rId5" Type="http://schemas.openxmlformats.org/officeDocument/2006/relationships/slideLayout" Target="../slideLayouts/slideLayout14.xml"/><Relationship Id="rId15" Type="http://schemas.openxmlformats.org/officeDocument/2006/relationships/theme" Target="../theme/theme2.xml"/><Relationship Id="rId23" Type="http://schemas.openxmlformats.org/officeDocument/2006/relationships/tags" Target="../tags/tag14.xml"/><Relationship Id="rId28" Type="http://schemas.openxmlformats.org/officeDocument/2006/relationships/tags" Target="../tags/tag19.xml"/><Relationship Id="rId10" Type="http://schemas.openxmlformats.org/officeDocument/2006/relationships/slideLayout" Target="../slideLayouts/slideLayout19.xml"/><Relationship Id="rId19" Type="http://schemas.openxmlformats.org/officeDocument/2006/relationships/tags" Target="../tags/tag10.xml"/><Relationship Id="rId31" Type="http://schemas.openxmlformats.org/officeDocument/2006/relationships/tags" Target="../tags/tag2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Relationship Id="rId22" Type="http://schemas.openxmlformats.org/officeDocument/2006/relationships/tags" Target="../tags/tag13.xml"/><Relationship Id="rId27" Type="http://schemas.openxmlformats.org/officeDocument/2006/relationships/tags" Target="../tags/tag18.xml"/><Relationship Id="rId30" Type="http://schemas.openxmlformats.org/officeDocument/2006/relationships/tags" Target="../tags/tag21.xml"/><Relationship Id="rId8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oleObject" Target="../embeddings/oleObject21.bin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tags" Target="../tags/tag37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image" Target="../media/image35.emf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tags" Target="../tags/tag40.xml"/><Relationship Id="rId26" Type="http://schemas.openxmlformats.org/officeDocument/2006/relationships/tags" Target="../tags/tag48.xml"/><Relationship Id="rId3" Type="http://schemas.openxmlformats.org/officeDocument/2006/relationships/slideLayout" Target="../slideLayouts/slideLayout44.xml"/><Relationship Id="rId21" Type="http://schemas.openxmlformats.org/officeDocument/2006/relationships/tags" Target="../tags/tag43.xml"/><Relationship Id="rId34" Type="http://schemas.openxmlformats.org/officeDocument/2006/relationships/image" Target="../media/image22.png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tags" Target="../tags/tag39.xml"/><Relationship Id="rId25" Type="http://schemas.openxmlformats.org/officeDocument/2006/relationships/tags" Target="../tags/tag47.xml"/><Relationship Id="rId33" Type="http://schemas.openxmlformats.org/officeDocument/2006/relationships/image" Target="../media/image21.emf"/><Relationship Id="rId2" Type="http://schemas.openxmlformats.org/officeDocument/2006/relationships/slideLayout" Target="../slideLayouts/slideLayout43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29" Type="http://schemas.openxmlformats.org/officeDocument/2006/relationships/tags" Target="../tags/tag51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tags" Target="../tags/tag46.xml"/><Relationship Id="rId32" Type="http://schemas.openxmlformats.org/officeDocument/2006/relationships/oleObject" Target="../embeddings/oleObject22.bin"/><Relationship Id="rId5" Type="http://schemas.openxmlformats.org/officeDocument/2006/relationships/slideLayout" Target="../slideLayouts/slideLayout46.xml"/><Relationship Id="rId15" Type="http://schemas.openxmlformats.org/officeDocument/2006/relationships/theme" Target="../theme/theme4.xml"/><Relationship Id="rId23" Type="http://schemas.openxmlformats.org/officeDocument/2006/relationships/tags" Target="../tags/tag45.xml"/><Relationship Id="rId28" Type="http://schemas.openxmlformats.org/officeDocument/2006/relationships/tags" Target="../tags/tag50.xml"/><Relationship Id="rId10" Type="http://schemas.openxmlformats.org/officeDocument/2006/relationships/slideLayout" Target="../slideLayouts/slideLayout51.xml"/><Relationship Id="rId19" Type="http://schemas.openxmlformats.org/officeDocument/2006/relationships/tags" Target="../tags/tag41.xml"/><Relationship Id="rId31" Type="http://schemas.openxmlformats.org/officeDocument/2006/relationships/tags" Target="../tags/tag53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tags" Target="../tags/tag44.xml"/><Relationship Id="rId27" Type="http://schemas.openxmlformats.org/officeDocument/2006/relationships/tags" Target="../tags/tag49.xml"/><Relationship Id="rId30" Type="http://schemas.openxmlformats.org/officeDocument/2006/relationships/tags" Target="../tags/tag52.xml"/><Relationship Id="rId8" Type="http://schemas.openxmlformats.org/officeDocument/2006/relationships/slideLayout" Target="../slideLayouts/slideLayout4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8.xml"/><Relationship Id="rId18" Type="http://schemas.openxmlformats.org/officeDocument/2006/relationships/theme" Target="../theme/theme5.xml"/><Relationship Id="rId26" Type="http://schemas.openxmlformats.org/officeDocument/2006/relationships/tags" Target="../tags/tag75.xml"/><Relationship Id="rId21" Type="http://schemas.openxmlformats.org/officeDocument/2006/relationships/tags" Target="../tags/tag70.xml"/><Relationship Id="rId34" Type="http://schemas.openxmlformats.org/officeDocument/2006/relationships/tags" Target="../tags/tag83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tags" Target="../tags/tag74.xml"/><Relationship Id="rId33" Type="http://schemas.openxmlformats.org/officeDocument/2006/relationships/tags" Target="../tags/tag82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tags" Target="../tags/tag69.xml"/><Relationship Id="rId29" Type="http://schemas.openxmlformats.org/officeDocument/2006/relationships/tags" Target="../tags/tag78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tags" Target="../tags/tag73.xml"/><Relationship Id="rId32" Type="http://schemas.openxmlformats.org/officeDocument/2006/relationships/tags" Target="../tags/tag81.xml"/><Relationship Id="rId37" Type="http://schemas.openxmlformats.org/officeDocument/2006/relationships/image" Target="../media/image22.png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tags" Target="../tags/tag72.xml"/><Relationship Id="rId28" Type="http://schemas.openxmlformats.org/officeDocument/2006/relationships/tags" Target="../tags/tag77.xml"/><Relationship Id="rId36" Type="http://schemas.openxmlformats.org/officeDocument/2006/relationships/image" Target="../media/image21.emf"/><Relationship Id="rId10" Type="http://schemas.openxmlformats.org/officeDocument/2006/relationships/slideLayout" Target="../slideLayouts/slideLayout65.xml"/><Relationship Id="rId19" Type="http://schemas.openxmlformats.org/officeDocument/2006/relationships/tags" Target="../tags/tag68.xml"/><Relationship Id="rId31" Type="http://schemas.openxmlformats.org/officeDocument/2006/relationships/tags" Target="../tags/tag80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tags" Target="../tags/tag71.xml"/><Relationship Id="rId27" Type="http://schemas.openxmlformats.org/officeDocument/2006/relationships/tags" Target="../tags/tag76.xml"/><Relationship Id="rId30" Type="http://schemas.openxmlformats.org/officeDocument/2006/relationships/tags" Target="../tags/tag79.xml"/><Relationship Id="rId35" Type="http://schemas.openxmlformats.org/officeDocument/2006/relationships/oleObject" Target="../embeddings/oleObject37.bin"/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68740061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21" imgH="420" progId="TCLayout.ActiveDocument.1">
                  <p:embed/>
                </p:oleObj>
              </mc:Choice>
              <mc:Fallback>
                <p:oleObj name="think-cell Slide" r:id="rId12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8755" y="276058"/>
            <a:ext cx="10457775" cy="7201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MASTER SLIDE</a:t>
            </a:r>
            <a:endParaRPr lang="en-Z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8329" y="1200483"/>
            <a:ext cx="11055343" cy="5299629"/>
          </a:xfrm>
          <a:prstGeom prst="rect">
            <a:avLst/>
          </a:prstGeom>
        </p:spPr>
        <p:txBody>
          <a:bodyPr vert="horz" lIns="36000" tIns="18000" rIns="0" bIns="18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7" name="Rectangle 6"/>
          <p:cNvSpPr/>
          <p:nvPr userDrawn="1"/>
        </p:nvSpPr>
        <p:spPr>
          <a:xfrm>
            <a:off x="443786" y="62927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 dirty="0">
              <a:solidFill>
                <a:schemeClr val="tx1">
                  <a:lumMod val="50000"/>
                  <a:lumOff val="50000"/>
                </a:schemeClr>
              </a:solidFill>
              <a:latin typeface="Tahoma"/>
            </a:endParaRPr>
          </a:p>
        </p:txBody>
      </p:sp>
      <p:sp>
        <p:nvSpPr>
          <p:cNvPr id="13" name="object 6">
            <a:extLst>
              <a:ext uri="{FF2B5EF4-FFF2-40B4-BE49-F238E27FC236}">
                <a16:creationId xmlns:a16="http://schemas.microsoft.com/office/drawing/2014/main" id="{C94C95BE-8722-4D8D-93E0-75343B78F809}"/>
              </a:ext>
            </a:extLst>
          </p:cNvPr>
          <p:cNvSpPr/>
          <p:nvPr userDrawn="1"/>
        </p:nvSpPr>
        <p:spPr>
          <a:xfrm>
            <a:off x="568328" y="1121575"/>
            <a:ext cx="11055343" cy="45719"/>
          </a:xfrm>
          <a:custGeom>
            <a:avLst/>
            <a:gdLst/>
            <a:ahLst/>
            <a:cxnLst/>
            <a:rect l="l" t="t" r="r" b="b"/>
            <a:pathLst>
              <a:path w="18230215">
                <a:moveTo>
                  <a:pt x="0" y="0"/>
                </a:moveTo>
                <a:lnTo>
                  <a:pt x="18229780" y="0"/>
                </a:lnTo>
              </a:path>
            </a:pathLst>
          </a:custGeom>
          <a:ln w="20941">
            <a:solidFill>
              <a:srgbClr val="8B8E91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8828F517-37FB-4E03-B217-C275D9590891}"/>
              </a:ext>
            </a:extLst>
          </p:cNvPr>
          <p:cNvSpPr/>
          <p:nvPr userDrawn="1"/>
        </p:nvSpPr>
        <p:spPr>
          <a:xfrm>
            <a:off x="620851" y="6136760"/>
            <a:ext cx="166575" cy="294959"/>
          </a:xfrm>
          <a:custGeom>
            <a:avLst/>
            <a:gdLst/>
            <a:ahLst/>
            <a:cxnLst/>
            <a:rect l="l" t="t" r="r" b="b"/>
            <a:pathLst>
              <a:path w="281305" h="486409">
                <a:moveTo>
                  <a:pt x="0" y="486404"/>
                </a:moveTo>
                <a:lnTo>
                  <a:pt x="281038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0567A0-C0A7-4B1B-AE7B-212F10FDF1C1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125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02" r:id="rId2"/>
    <p:sldLayoutId id="2147483701" r:id="rId3"/>
    <p:sldLayoutId id="2147483673" r:id="rId4"/>
    <p:sldLayoutId id="2147483695" r:id="rId5"/>
    <p:sldLayoutId id="2147483705" r:id="rId6"/>
    <p:sldLayoutId id="2147483696" r:id="rId7"/>
    <p:sldLayoutId id="2147483719" r:id="rId8"/>
    <p:sldLayoutId id="2147483940" r:id="rId9"/>
  </p:sldLayoutIdLst>
  <p:hf hdr="0" ftr="0" dt="0"/>
  <p:txStyles>
    <p:titleStyle>
      <a:lvl1pPr algn="l" defTabSz="779173" rtl="0" eaLnBrk="1" latinLnBrk="0" hangingPunct="1">
        <a:spcBef>
          <a:spcPct val="0"/>
        </a:spcBef>
        <a:buNone/>
        <a:defRPr sz="2800" b="1" kern="1200" cap="none" spc="0" baseline="0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779173" rtl="0" eaLnBrk="1" latinLnBrk="0" hangingPunct="1">
        <a:lnSpc>
          <a:spcPct val="110000"/>
        </a:lnSpc>
        <a:spcBef>
          <a:spcPts val="1023"/>
        </a:spcBef>
        <a:spcAft>
          <a:spcPts val="341"/>
        </a:spcAft>
        <a:buFont typeface="Arial" pitchFamily="34" charset="0"/>
        <a:buNone/>
        <a:defRPr sz="20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228612" indent="-142037" algn="l" defTabSz="779173" rtl="0" eaLnBrk="1" latinLnBrk="0" hangingPunct="1">
        <a:lnSpc>
          <a:spcPct val="110000"/>
        </a:lnSpc>
        <a:spcBef>
          <a:spcPts val="171"/>
        </a:spcBef>
        <a:spcAft>
          <a:spcPts val="171"/>
        </a:spcAft>
        <a:buFont typeface="Arial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531623" indent="-160976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›"/>
        <a:defRPr sz="16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764293" indent="-155565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–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1078126" indent="-156917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»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142725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32312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2921898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311484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1pPr>
      <a:lvl2pPr marL="389586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2pPr>
      <a:lvl3pPr marL="779173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3pPr>
      <a:lvl4pPr marL="1168759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4pPr>
      <a:lvl5pPr marL="1558345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5pPr>
      <a:lvl6pPr marL="1947932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6pPr>
      <a:lvl7pPr marL="2337518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7pPr>
      <a:lvl8pPr marL="2727104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8pPr>
      <a:lvl9pPr marL="3116691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0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  <p15:guide id="5" orient="horz" pos="2432" userDrawn="1">
          <p15:clr>
            <a:srgbClr val="F26B43"/>
          </p15:clr>
        </p15:guide>
        <p15:guide id="7" orient="horz" pos="70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781534475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80477" y="1980017"/>
            <a:ext cx="2232984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en-US" sz="612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t Modified 2017-01-31 05:58 AM South Africa Standard Time</a:t>
            </a:r>
            <a:endParaRPr kumimoji="0" lang="x-none" sz="1632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89485" y="4197997"/>
            <a:ext cx="201497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en-US" sz="612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nted 2016-08-05 09:24 AM South Africa Standard Time</a:t>
            </a:r>
            <a:endParaRPr kumimoji="0" lang="x-none" sz="1632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774863" y="553829"/>
            <a:ext cx="1118572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5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x-none" sz="816" b="0" i="0" u="none" strike="noStrike" kern="1200" cap="all" spc="0" normalizeH="0" baseline="0" noProof="0">
                <a:ln>
                  <a:noFill/>
                </a:ln>
                <a:solidFill>
                  <a:srgbClr val="0A2E4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8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0A2E4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87" y="6432273"/>
            <a:ext cx="11725485" cy="333805"/>
            <a:chOff x="119063" y="6304223"/>
            <a:chExt cx="8618537" cy="32716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4223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6902" marR="0" lvl="0" indent="-106902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lang="x-none"/>
              </a:pPr>
              <a:r>
                <a:rPr kumimoji="0" lang="x-none" sz="816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5836"/>
              <a:ext cx="7200000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75" marR="0" lvl="0" indent="-621975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25214" algn="l"/>
                </a:tabLst>
                <a:defRPr/>
              </a:pPr>
              <a:r>
                <a:rPr kumimoji="0" lang="x-none" sz="816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9" y="1991016"/>
            <a:ext cx="5853024" cy="108581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9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none" sz="163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tle</a:t>
              </a:r>
            </a:p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4503" y="291556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x-none" sz="816" b="0" i="0" u="none" strike="noStrike" kern="1200" cap="none" spc="0" normalizeH="0" baseline="0" noProof="0">
                  <a:ln>
                    <a:noFill/>
                  </a:ln>
                  <a:solidFill>
                    <a:srgbClr val="0A2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2" y="6455861"/>
            <a:ext cx="62201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x-none" sz="1632" b="0" i="0" u="none" strike="noStrike" kern="1200" cap="none" spc="0" normalizeH="0" baseline="0" noProof="0">
              <a:ln>
                <a:noFill/>
              </a:ln>
              <a:solidFill>
                <a:srgbClr val="3033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80" y="5183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x-none" sz="816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56" y="285077"/>
            <a:ext cx="864940" cy="1017696"/>
            <a:chOff x="7835905" y="279400"/>
            <a:chExt cx="635753" cy="99743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77" y="285077"/>
            <a:ext cx="1283938" cy="745579"/>
            <a:chOff x="7540629" y="279400"/>
            <a:chExt cx="943728" cy="730736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742" y="255920"/>
            <a:ext cx="955651" cy="1333054"/>
            <a:chOff x="7769225" y="250825"/>
            <a:chExt cx="702428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65" name="Slide Number"/>
          <p:cNvSpPr txBox="1">
            <a:spLocks/>
          </p:cNvSpPr>
          <p:nvPr userDrawn="1"/>
        </p:nvSpPr>
        <p:spPr bwMode="auto">
          <a:xfrm>
            <a:off x="11832346" y="658641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x-none" sz="816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x-none" sz="816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3" name="Picture 108" descr="Transnet - Wikipedia">
            <a:extLst>
              <a:ext uri="{FF2B5EF4-FFF2-40B4-BE49-F238E27FC236}">
                <a16:creationId xmlns:a16="http://schemas.microsoft.com/office/drawing/2014/main" id="{AD9AE991-9A7F-B534-AFFD-CDA27F894B4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479123" y="119784"/>
            <a:ext cx="595908" cy="474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905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400" b="0" baseline="0">
          <a:solidFill>
            <a:srgbClr val="063E59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rgbClr val="063E59"/>
        </a:buClr>
        <a:buSzPct val="100000"/>
        <a:defRPr lang="x-none" sz="1400" baseline="0">
          <a:solidFill>
            <a:schemeClr val="accent3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accent3">
            <a:lumMod val="90000"/>
            <a:lumOff val="10000"/>
          </a:schemeClr>
        </a:buClr>
        <a:buSzPct val="125000"/>
        <a:buFont typeface="Arial" panose="020B0604020202020204" pitchFamily="34" charset="0"/>
        <a:buChar char="•"/>
        <a:defRPr lang="x-none" sz="1400" baseline="0">
          <a:solidFill>
            <a:schemeClr val="accent3">
              <a:lumMod val="90000"/>
              <a:lumOff val="10000"/>
            </a:schemeClr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accent3">
            <a:lumMod val="90000"/>
            <a:lumOff val="10000"/>
          </a:schemeClr>
        </a:buClr>
        <a:buSzPct val="120000"/>
        <a:buFont typeface="Courier New" panose="02070309020205020404" pitchFamily="49" charset="0"/>
        <a:buChar char="o"/>
        <a:defRPr lang="x-none" sz="1400" baseline="0">
          <a:solidFill>
            <a:schemeClr val="accent3">
              <a:lumMod val="90000"/>
              <a:lumOff val="10000"/>
            </a:schemeClr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accent3">
            <a:lumMod val="90000"/>
            <a:lumOff val="10000"/>
          </a:schemeClr>
        </a:buClr>
        <a:buSzPct val="120000"/>
        <a:buFont typeface="Arial" charset="0"/>
        <a:buChar char="▫"/>
        <a:defRPr lang="x-none" sz="1400" baseline="0">
          <a:solidFill>
            <a:schemeClr val="accent3">
              <a:lumMod val="90000"/>
              <a:lumOff val="10000"/>
            </a:schemeClr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accent3">
            <a:lumMod val="90000"/>
            <a:lumOff val="10000"/>
          </a:schemeClr>
        </a:buClr>
        <a:buSzPct val="89000"/>
        <a:buFont typeface="Arial" charset="0"/>
        <a:buChar char="-"/>
        <a:defRPr lang="x-none" sz="1400" baseline="0">
          <a:solidFill>
            <a:schemeClr val="accent3">
              <a:lumMod val="90000"/>
              <a:lumOff val="10000"/>
            </a:schemeClr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55D2D85-A651-4CCA-95C6-F4B261572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216453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95" imgH="394" progId="TCLayout.ActiveDocument.1">
                  <p:embed/>
                </p:oleObj>
              </mc:Choice>
              <mc:Fallback>
                <p:oleObj name="think-cell Slide" r:id="rId21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5D2D85-A651-4CCA-95C6-F4B261572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75407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  <p:sldLayoutId id="2147483823" r:id="rId14"/>
    <p:sldLayoutId id="2147483824" r:id="rId15"/>
    <p:sldLayoutId id="2147483825" r:id="rId16"/>
    <p:sldLayoutId id="2147483826" r:id="rId17"/>
    <p:sldLayoutId id="2147483827" r:id="rId18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Open Sans" pitchFamily="34" charset="0"/>
          <a:cs typeface="Open Sans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Open Sans" pitchFamily="34" charset="0"/>
          <a:cs typeface="Open Sans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Open Sans" pitchFamily="34" charset="0"/>
          <a:cs typeface="Open Sans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Open Sans" pitchFamily="34" charset="0"/>
          <a:cs typeface="Open Sans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Open Sans" pitchFamily="34" charset="0"/>
          <a:cs typeface="Open Sans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Open Sans" pitchFamily="34" charset="0"/>
          <a:cs typeface="Open Sans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Open Sans" pitchFamily="34" charset="0"/>
          <a:cs typeface="Open Sans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Open Sans" pitchFamily="34" charset="0"/>
          <a:cs typeface="Open Sans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960381945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80477" y="1980017"/>
            <a:ext cx="2232984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en-US" sz="612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t Modified 2017-01-31 05:58 AM South Africa Standard Time</a:t>
            </a:r>
            <a:endParaRPr kumimoji="0" lang="x-none" sz="1632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89485" y="4197997"/>
            <a:ext cx="201497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en-US" sz="612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nted 2016-08-05 09:24 AM South Africa Standard Time</a:t>
            </a:r>
            <a:endParaRPr kumimoji="0" lang="x-none" sz="1632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774863" y="553829"/>
            <a:ext cx="1118572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5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x-none" sz="816" b="0" i="0" u="none" strike="noStrike" kern="1200" cap="all" spc="0" normalizeH="0" baseline="0" noProof="0">
                <a:ln>
                  <a:noFill/>
                </a:ln>
                <a:solidFill>
                  <a:srgbClr val="0A2E4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8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0A2E4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87" y="6432273"/>
            <a:ext cx="11725485" cy="333805"/>
            <a:chOff x="119063" y="6304223"/>
            <a:chExt cx="8618537" cy="32716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4223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6902" marR="0" lvl="0" indent="-106902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lang="x-none"/>
              </a:pPr>
              <a:r>
                <a:rPr kumimoji="0" lang="x-none" sz="816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5836"/>
              <a:ext cx="7200000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75" marR="0" lvl="0" indent="-621975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25214" algn="l"/>
                </a:tabLst>
                <a:defRPr/>
              </a:pPr>
              <a:r>
                <a:rPr kumimoji="0" lang="x-none" sz="816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9" y="1991016"/>
            <a:ext cx="5853024" cy="108581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9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none" sz="163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tle</a:t>
              </a:r>
            </a:p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4503" y="291556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x-none" sz="816" b="0" i="0" u="none" strike="noStrike" kern="1200" cap="none" spc="0" normalizeH="0" baseline="0" noProof="0">
                  <a:ln>
                    <a:noFill/>
                  </a:ln>
                  <a:solidFill>
                    <a:srgbClr val="0A2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2" y="6455861"/>
            <a:ext cx="62201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x-none" sz="1632" b="0" i="0" u="none" strike="noStrike" kern="1200" cap="none" spc="0" normalizeH="0" baseline="0" noProof="0">
              <a:ln>
                <a:noFill/>
              </a:ln>
              <a:solidFill>
                <a:srgbClr val="3033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80" y="5183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x-none" sz="816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56" y="285077"/>
            <a:ext cx="864940" cy="1017696"/>
            <a:chOff x="7835905" y="279400"/>
            <a:chExt cx="635753" cy="99743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77" y="285077"/>
            <a:ext cx="1283938" cy="745579"/>
            <a:chOff x="7540629" y="279400"/>
            <a:chExt cx="943728" cy="730736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742" y="255920"/>
            <a:ext cx="955651" cy="1333054"/>
            <a:chOff x="7769225" y="250825"/>
            <a:chExt cx="702428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65" name="Slide Number"/>
          <p:cNvSpPr txBox="1">
            <a:spLocks/>
          </p:cNvSpPr>
          <p:nvPr userDrawn="1"/>
        </p:nvSpPr>
        <p:spPr bwMode="auto">
          <a:xfrm>
            <a:off x="11832346" y="658641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x-none" sz="816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x-none" sz="816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3" name="Picture 108" descr="Transnet - Wikipedia">
            <a:extLst>
              <a:ext uri="{FF2B5EF4-FFF2-40B4-BE49-F238E27FC236}">
                <a16:creationId xmlns:a16="http://schemas.microsoft.com/office/drawing/2014/main" id="{AD9AE991-9A7F-B534-AFFD-CDA27F894B4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479123" y="119784"/>
            <a:ext cx="595908" cy="474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855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  <p:sldLayoutId id="2147483900" r:id="rId12"/>
    <p:sldLayoutId id="2147483901" r:id="rId13"/>
    <p:sldLayoutId id="2147483902" r:id="rId1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400" b="0" baseline="0">
          <a:solidFill>
            <a:srgbClr val="063E59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rgbClr val="063E59"/>
        </a:buClr>
        <a:buSzPct val="100000"/>
        <a:defRPr lang="x-none" sz="1400" baseline="0">
          <a:solidFill>
            <a:schemeClr val="accent3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accent3">
            <a:lumMod val="90000"/>
            <a:lumOff val="10000"/>
          </a:schemeClr>
        </a:buClr>
        <a:buSzPct val="125000"/>
        <a:buFont typeface="Arial" panose="020B0604020202020204" pitchFamily="34" charset="0"/>
        <a:buChar char="•"/>
        <a:defRPr lang="x-none" sz="1400" baseline="0">
          <a:solidFill>
            <a:schemeClr val="accent3">
              <a:lumMod val="90000"/>
              <a:lumOff val="10000"/>
            </a:schemeClr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accent3">
            <a:lumMod val="90000"/>
            <a:lumOff val="10000"/>
          </a:schemeClr>
        </a:buClr>
        <a:buSzPct val="120000"/>
        <a:buFont typeface="Courier New" panose="02070309020205020404" pitchFamily="49" charset="0"/>
        <a:buChar char="o"/>
        <a:defRPr lang="x-none" sz="1400" baseline="0">
          <a:solidFill>
            <a:schemeClr val="accent3">
              <a:lumMod val="90000"/>
              <a:lumOff val="10000"/>
            </a:schemeClr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accent3">
            <a:lumMod val="90000"/>
            <a:lumOff val="10000"/>
          </a:schemeClr>
        </a:buClr>
        <a:buSzPct val="120000"/>
        <a:buFont typeface="Arial" charset="0"/>
        <a:buChar char="▫"/>
        <a:defRPr lang="x-none" sz="1400" baseline="0">
          <a:solidFill>
            <a:schemeClr val="accent3">
              <a:lumMod val="90000"/>
              <a:lumOff val="10000"/>
            </a:schemeClr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accent3">
            <a:lumMod val="90000"/>
            <a:lumOff val="10000"/>
          </a:schemeClr>
        </a:buClr>
        <a:buSzPct val="89000"/>
        <a:buFont typeface="Arial" charset="0"/>
        <a:buChar char="-"/>
        <a:defRPr lang="x-none" sz="1400" baseline="0">
          <a:solidFill>
            <a:schemeClr val="accent3">
              <a:lumMod val="90000"/>
              <a:lumOff val="10000"/>
            </a:schemeClr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954790698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80477" y="1980017"/>
            <a:ext cx="2232984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en-US" sz="612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t Modified 2017-01-31 05:58 AM South Africa Standard Time</a:t>
            </a:r>
            <a:endParaRPr kumimoji="0" lang="x-none" sz="1632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89485" y="4197997"/>
            <a:ext cx="201497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en-US" sz="612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nted 2016-08-05 09:24 AM South Africa Standard Time</a:t>
            </a:r>
            <a:endParaRPr kumimoji="0" lang="x-none" sz="1632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774863" y="553829"/>
            <a:ext cx="1118572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5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x-none" sz="816" b="0" i="0" u="none" strike="noStrike" kern="1200" cap="all" spc="0" normalizeH="0" baseline="0" noProof="0">
                <a:ln>
                  <a:noFill/>
                </a:ln>
                <a:solidFill>
                  <a:srgbClr val="0A2E4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8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0A2E4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87" y="6432273"/>
            <a:ext cx="11725485" cy="333805"/>
            <a:chOff x="119063" y="6304223"/>
            <a:chExt cx="8618537" cy="32716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4223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6902" marR="0" lvl="0" indent="-106902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lang="x-none"/>
              </a:pPr>
              <a:r>
                <a:rPr kumimoji="0" lang="x-none" sz="816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5836"/>
              <a:ext cx="7200000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75" marR="0" lvl="0" indent="-621975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25214" algn="l"/>
                </a:tabLst>
                <a:defRPr/>
              </a:pPr>
              <a:r>
                <a:rPr kumimoji="0" lang="x-none" sz="816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9" y="1991016"/>
            <a:ext cx="5853024" cy="108581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9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none" sz="163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tle</a:t>
              </a:r>
            </a:p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4503" y="291556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x-none" sz="816" b="0" i="0" u="none" strike="noStrike" kern="1200" cap="none" spc="0" normalizeH="0" baseline="0" noProof="0">
                  <a:ln>
                    <a:noFill/>
                  </a:ln>
                  <a:solidFill>
                    <a:srgbClr val="0A2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2" y="6455861"/>
            <a:ext cx="62201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x-none" sz="1632" b="0" i="0" u="none" strike="noStrike" kern="1200" cap="none" spc="0" normalizeH="0" baseline="0" noProof="0">
              <a:ln>
                <a:noFill/>
              </a:ln>
              <a:solidFill>
                <a:srgbClr val="3033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80" y="5183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x-none" sz="816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56" y="285077"/>
            <a:ext cx="864940" cy="1017696"/>
            <a:chOff x="7835905" y="279400"/>
            <a:chExt cx="635753" cy="99743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77" y="285077"/>
            <a:ext cx="1283938" cy="745579"/>
            <a:chOff x="7540629" y="279400"/>
            <a:chExt cx="943728" cy="730736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742" y="255920"/>
            <a:ext cx="955651" cy="1333054"/>
            <a:chOff x="7769225" y="250825"/>
            <a:chExt cx="702428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65" name="Slide Number"/>
          <p:cNvSpPr txBox="1">
            <a:spLocks/>
          </p:cNvSpPr>
          <p:nvPr userDrawn="1"/>
        </p:nvSpPr>
        <p:spPr bwMode="auto">
          <a:xfrm>
            <a:off x="11832346" y="658641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x-none" sz="816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x-none" sz="816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3" name="Picture 108" descr="Transnet - Wikipedia">
            <a:extLst>
              <a:ext uri="{FF2B5EF4-FFF2-40B4-BE49-F238E27FC236}">
                <a16:creationId xmlns:a16="http://schemas.microsoft.com/office/drawing/2014/main" id="{AD9AE991-9A7F-B534-AFFD-CDA27F894B4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479123" y="119784"/>
            <a:ext cx="595908" cy="474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9053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6" r:id="rId2"/>
    <p:sldLayoutId id="2147483907" r:id="rId3"/>
    <p:sldLayoutId id="2147483908" r:id="rId4"/>
    <p:sldLayoutId id="2147483909" r:id="rId5"/>
    <p:sldLayoutId id="2147483910" r:id="rId6"/>
    <p:sldLayoutId id="2147483911" r:id="rId7"/>
    <p:sldLayoutId id="2147483912" r:id="rId8"/>
    <p:sldLayoutId id="2147483913" r:id="rId9"/>
    <p:sldLayoutId id="2147483914" r:id="rId10"/>
    <p:sldLayoutId id="2147483915" r:id="rId11"/>
    <p:sldLayoutId id="2147483916" r:id="rId12"/>
    <p:sldLayoutId id="2147483917" r:id="rId13"/>
    <p:sldLayoutId id="2147483918" r:id="rId14"/>
    <p:sldLayoutId id="2147483920" r:id="rId15"/>
    <p:sldLayoutId id="2147483921" r:id="rId16"/>
    <p:sldLayoutId id="2147483922" r:id="rId17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400" b="0" baseline="0">
          <a:solidFill>
            <a:srgbClr val="063E59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rgbClr val="063E59"/>
        </a:buClr>
        <a:buSzPct val="100000"/>
        <a:defRPr lang="x-none" sz="1400" baseline="0">
          <a:solidFill>
            <a:schemeClr val="accent3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accent3">
            <a:lumMod val="90000"/>
            <a:lumOff val="10000"/>
          </a:schemeClr>
        </a:buClr>
        <a:buSzPct val="125000"/>
        <a:buFont typeface="Arial" panose="020B0604020202020204" pitchFamily="34" charset="0"/>
        <a:buChar char="•"/>
        <a:defRPr lang="x-none" sz="1400" baseline="0">
          <a:solidFill>
            <a:schemeClr val="accent3">
              <a:lumMod val="90000"/>
              <a:lumOff val="10000"/>
            </a:schemeClr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accent3">
            <a:lumMod val="90000"/>
            <a:lumOff val="10000"/>
          </a:schemeClr>
        </a:buClr>
        <a:buSzPct val="120000"/>
        <a:buFont typeface="Courier New" panose="02070309020205020404" pitchFamily="49" charset="0"/>
        <a:buChar char="o"/>
        <a:defRPr lang="x-none" sz="1400" baseline="0">
          <a:solidFill>
            <a:schemeClr val="accent3">
              <a:lumMod val="90000"/>
              <a:lumOff val="10000"/>
            </a:schemeClr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accent3">
            <a:lumMod val="90000"/>
            <a:lumOff val="10000"/>
          </a:schemeClr>
        </a:buClr>
        <a:buSzPct val="120000"/>
        <a:buFont typeface="Arial" charset="0"/>
        <a:buChar char="▫"/>
        <a:defRPr lang="x-none" sz="1400" baseline="0">
          <a:solidFill>
            <a:schemeClr val="accent3">
              <a:lumMod val="90000"/>
              <a:lumOff val="10000"/>
            </a:schemeClr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accent3">
            <a:lumMod val="90000"/>
            <a:lumOff val="10000"/>
          </a:schemeClr>
        </a:buClr>
        <a:buSzPct val="89000"/>
        <a:buFont typeface="Arial" charset="0"/>
        <a:buChar char="-"/>
        <a:defRPr lang="x-none" sz="1400" baseline="0">
          <a:solidFill>
            <a:schemeClr val="accent3">
              <a:lumMod val="90000"/>
              <a:lumOff val="10000"/>
            </a:schemeClr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D48B49-B862-45C6-BFCD-064FEF9AC8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84371" y="3788433"/>
            <a:ext cx="8878829" cy="681968"/>
          </a:xfrm>
        </p:spPr>
        <p:txBody>
          <a:bodyPr/>
          <a:lstStyle/>
          <a:p>
            <a:r>
              <a:rPr lang="en-ZA" sz="3200" kern="0" dirty="0"/>
              <a:t>Transnet FAQs and </a:t>
            </a:r>
          </a:p>
          <a:p>
            <a:r>
              <a:rPr lang="en-ZA" sz="3200" kern="0" dirty="0"/>
              <a:t>Frequently Encountered User Issu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D826CF-5ADC-4C79-A8A7-593A5964C3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84371" y="4470401"/>
            <a:ext cx="6248013" cy="1402079"/>
          </a:xfrm>
        </p:spPr>
        <p:txBody>
          <a:bodyPr/>
          <a:lstStyle/>
          <a:p>
            <a:endParaRPr lang="en-GB" dirty="0"/>
          </a:p>
          <a:p>
            <a:endParaRPr lang="en-GB" dirty="0"/>
          </a:p>
          <a:p>
            <a:r>
              <a:rPr lang="en-GB" dirty="0"/>
              <a:t>09 May 2023</a:t>
            </a:r>
          </a:p>
        </p:txBody>
      </p:sp>
    </p:spTree>
    <p:extLst>
      <p:ext uri="{BB962C8B-B14F-4D97-AF65-F5344CB8AC3E}">
        <p14:creationId xmlns:p14="http://schemas.microsoft.com/office/powerpoint/2010/main" val="30996019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D09BC89-A9C9-32DC-611F-3A11E6EFC936}"/>
              </a:ext>
            </a:extLst>
          </p:cNvPr>
          <p:cNvSpPr txBox="1"/>
          <p:nvPr/>
        </p:nvSpPr>
        <p:spPr>
          <a:xfrm>
            <a:off x="585983" y="61595"/>
            <a:ext cx="75377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>
              <a:defRPr/>
            </a:pPr>
            <a:r>
              <a:rPr lang="en-ZA" dirty="0">
                <a:solidFill>
                  <a:schemeClr val="bg1">
                    <a:lumMod val="50000"/>
                  </a:schemeClr>
                </a:solidFill>
                <a:latin typeface="Tahoma"/>
              </a:rPr>
              <a:t>E-TENDER PLATFORM – FAQs and Frequently Encountered User Issu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BEE889D-F89C-156B-F705-122C223E8C25}"/>
              </a:ext>
            </a:extLst>
          </p:cNvPr>
          <p:cNvSpPr txBox="1">
            <a:spLocks/>
          </p:cNvSpPr>
          <p:nvPr/>
        </p:nvSpPr>
        <p:spPr>
          <a:xfrm>
            <a:off x="585983" y="356616"/>
            <a:ext cx="10457775" cy="720105"/>
          </a:xfrm>
          <a:prstGeom prst="rect">
            <a:avLst/>
          </a:prstGeom>
        </p:spPr>
        <p:txBody>
          <a:bodyPr anchor="b"/>
          <a:lstStyle>
            <a:lvl1pPr algn="l" defTabSz="633078" rtl="0" eaLnBrk="1" latinLnBrk="0" hangingPunct="1">
              <a:spcBef>
                <a:spcPct val="0"/>
              </a:spcBef>
              <a:buNone/>
              <a:defRPr sz="2275" b="1" kern="1200" cap="none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ssues and Resolutions</a:t>
            </a:r>
            <a:endParaRPr lang="en-ZA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7" name="Table 28">
            <a:extLst>
              <a:ext uri="{FF2B5EF4-FFF2-40B4-BE49-F238E27FC236}">
                <a16:creationId xmlns:a16="http://schemas.microsoft.com/office/drawing/2014/main" id="{EEB914D4-4379-B8E8-388D-E30183D0FB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4596368"/>
              </p:ext>
            </p:extLst>
          </p:nvPr>
        </p:nvGraphicFramePr>
        <p:xfrm>
          <a:off x="585982" y="1307592"/>
          <a:ext cx="10996419" cy="4996053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755138">
                  <a:extLst>
                    <a:ext uri="{9D8B030D-6E8A-4147-A177-3AD203B41FA5}">
                      <a16:colId xmlns:a16="http://schemas.microsoft.com/office/drawing/2014/main" val="1468014291"/>
                    </a:ext>
                  </a:extLst>
                </a:gridCol>
                <a:gridCol w="4681728">
                  <a:extLst>
                    <a:ext uri="{9D8B030D-6E8A-4147-A177-3AD203B41FA5}">
                      <a16:colId xmlns:a16="http://schemas.microsoft.com/office/drawing/2014/main" val="1429369229"/>
                    </a:ext>
                  </a:extLst>
                </a:gridCol>
                <a:gridCol w="5559553">
                  <a:extLst>
                    <a:ext uri="{9D8B030D-6E8A-4147-A177-3AD203B41FA5}">
                      <a16:colId xmlns:a16="http://schemas.microsoft.com/office/drawing/2014/main" val="11837181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Issu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Resolution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74673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t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shboard/Register and Submitted files, the difference between them</a:t>
                      </a:r>
                    </a:p>
                  </a:txBody>
                  <a:tcPr marL="6350" marR="6350" marT="6350"/>
                </a:tc>
                <a:tc>
                  <a:txBody>
                    <a:bodyPr/>
                    <a:lstStyle/>
                    <a:p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difference between the dashboard/register and number of documents/folders in the system, and the reasons:</a:t>
                      </a:r>
                    </a:p>
                    <a:p>
                      <a:endParaRPr lang="en-US" sz="1534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dders submitted bids without attaching/uploading any documents, </a:t>
                      </a:r>
                    </a:p>
                    <a:p>
                      <a:pPr marL="732486" lvl="1" indent="-342900">
                        <a:buFont typeface="+mj-lt"/>
                        <a:buAutoNum type="alphaLcPeriod"/>
                      </a:pP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s issue has been fixed by ICT in an update, so it no longer allows a submission without attaching/uploading</a:t>
                      </a:r>
                    </a:p>
                    <a:p>
                      <a:pPr marL="732486" lvl="1" indent="-342900">
                        <a:buFont typeface="+mj-lt"/>
                        <a:buAutoNum type="alphaLcPeriod"/>
                      </a:pPr>
                      <a:endParaRPr lang="en-US" sz="1534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dders upload document and then delete it, therefore no documents/folders are available </a:t>
                      </a:r>
                    </a:p>
                    <a:p>
                      <a:pPr marL="732486" lvl="1" indent="-342900">
                        <a:buFont typeface="+mj-lt"/>
                        <a:buAutoNum type="alphaLcPeriod"/>
                      </a:pP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s issue has a log/trail of bidder actions which can show time of upload and time of deletion</a:t>
                      </a:r>
                    </a:p>
                    <a:p>
                      <a:pPr marL="732486" lvl="1" indent="-342900">
                        <a:buFont typeface="+mj-lt"/>
                        <a:buAutoNum type="alphaLcPeriod"/>
                      </a:pPr>
                      <a:endParaRPr lang="en-US" sz="1534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11923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779173" rtl="0" eaLnBrk="1" fontAlgn="t" latinLnBrk="0" hangingPunct="1"/>
                      <a:r>
                        <a:rPr lang="en-ZA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endParaRPr lang="en-US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Development Mode err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twork connectivity, so please ask them to refresh the page with a better network connection if possible.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has been registered, and can reload, and sign in.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3740298"/>
                  </a:ext>
                </a:extLst>
              </a:tr>
            </a:tbl>
          </a:graphicData>
        </a:graphic>
      </p:graphicFrame>
      <p:pic>
        <p:nvPicPr>
          <p:cNvPr id="29" name="Picture 1">
            <a:extLst>
              <a:ext uri="{FF2B5EF4-FFF2-40B4-BE49-F238E27FC236}">
                <a16:creationId xmlns:a16="http://schemas.microsoft.com/office/drawing/2014/main" id="{90FCC8C5-F589-469D-FA00-A7204A9568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4354" y="5616593"/>
            <a:ext cx="2206038" cy="701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97877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D09BC89-A9C9-32DC-611F-3A11E6EFC936}"/>
              </a:ext>
            </a:extLst>
          </p:cNvPr>
          <p:cNvSpPr txBox="1"/>
          <p:nvPr/>
        </p:nvSpPr>
        <p:spPr>
          <a:xfrm>
            <a:off x="585983" y="61595"/>
            <a:ext cx="75377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>
              <a:defRPr/>
            </a:pPr>
            <a:r>
              <a:rPr lang="en-ZA" dirty="0">
                <a:solidFill>
                  <a:schemeClr val="bg1">
                    <a:lumMod val="50000"/>
                  </a:schemeClr>
                </a:solidFill>
                <a:latin typeface="Tahoma"/>
              </a:rPr>
              <a:t>E-TENDER PLATFORM – FAQs and Frequently Encountered User Issu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BEE889D-F89C-156B-F705-122C223E8C25}"/>
              </a:ext>
            </a:extLst>
          </p:cNvPr>
          <p:cNvSpPr txBox="1">
            <a:spLocks/>
          </p:cNvSpPr>
          <p:nvPr/>
        </p:nvSpPr>
        <p:spPr>
          <a:xfrm>
            <a:off x="585983" y="356616"/>
            <a:ext cx="10457775" cy="720105"/>
          </a:xfrm>
          <a:prstGeom prst="rect">
            <a:avLst/>
          </a:prstGeom>
        </p:spPr>
        <p:txBody>
          <a:bodyPr anchor="b"/>
          <a:lstStyle>
            <a:lvl1pPr algn="l" defTabSz="633078" rtl="0" eaLnBrk="1" latinLnBrk="0" hangingPunct="1">
              <a:spcBef>
                <a:spcPct val="0"/>
              </a:spcBef>
              <a:buNone/>
              <a:defRPr sz="2275" b="1" kern="1200" cap="none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ssues and Resolutions</a:t>
            </a:r>
            <a:endParaRPr lang="en-ZA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7" name="Table 28">
            <a:extLst>
              <a:ext uri="{FF2B5EF4-FFF2-40B4-BE49-F238E27FC236}">
                <a16:creationId xmlns:a16="http://schemas.microsoft.com/office/drawing/2014/main" id="{EEB914D4-4379-B8E8-388D-E30183D0FB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615935"/>
              </p:ext>
            </p:extLst>
          </p:nvPr>
        </p:nvGraphicFramePr>
        <p:xfrm>
          <a:off x="585982" y="1307592"/>
          <a:ext cx="10996419" cy="4996053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755138">
                  <a:extLst>
                    <a:ext uri="{9D8B030D-6E8A-4147-A177-3AD203B41FA5}">
                      <a16:colId xmlns:a16="http://schemas.microsoft.com/office/drawing/2014/main" val="1468014291"/>
                    </a:ext>
                  </a:extLst>
                </a:gridCol>
                <a:gridCol w="4681728">
                  <a:extLst>
                    <a:ext uri="{9D8B030D-6E8A-4147-A177-3AD203B41FA5}">
                      <a16:colId xmlns:a16="http://schemas.microsoft.com/office/drawing/2014/main" val="1429369229"/>
                    </a:ext>
                  </a:extLst>
                </a:gridCol>
                <a:gridCol w="5559553">
                  <a:extLst>
                    <a:ext uri="{9D8B030D-6E8A-4147-A177-3AD203B41FA5}">
                      <a16:colId xmlns:a16="http://schemas.microsoft.com/office/drawing/2014/main" val="11837181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Issu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Resolution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74673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779173" rtl="0" eaLnBrk="1" fontAlgn="t" latinLnBrk="0" hangingPunct="1"/>
                      <a:r>
                        <a:rPr lang="en-ZA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.</a:t>
                      </a:r>
                      <a:endParaRPr lang="en-US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/>
                </a:tc>
                <a:tc>
                  <a:txBody>
                    <a:bodyPr/>
                    <a:lstStyle/>
                    <a:p>
                      <a:pPr marL="0" algn="l" defTabSz="779173" rtl="0" eaLnBrk="1" fontAlgn="t" latinLnBrk="0" hangingPunct="1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ailing to register</a:t>
                      </a:r>
                    </a:p>
                  </a:txBody>
                  <a:tcPr marL="6350" marR="6350" marT="6350"/>
                </a:tc>
                <a:tc>
                  <a:txBody>
                    <a:bodyPr/>
                    <a:lstStyle/>
                    <a:p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ease find link to guide below and follow steps accordingly you should have an account registered.</a:t>
                      </a:r>
                    </a:p>
                    <a:p>
                      <a:endParaRPr lang="en-US" sz="1534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ttps://www.transnet.net/TenderBulletins/Documents/E-Tender%20Vendor%20Portal.pdf</a:t>
                      </a:r>
                    </a:p>
                    <a:p>
                      <a:endParaRPr lang="en-US" sz="1534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11923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ZA" sz="1800" dirty="0">
                          <a:latin typeface="+mn-lt"/>
                        </a:rPr>
                        <a:t>4.</a:t>
                      </a:r>
                      <a:endParaRPr lang="en-US" sz="1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Pending Approval Ten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. Manager has not approved.</a:t>
                      </a:r>
                    </a:p>
                    <a:p>
                      <a:pPr marL="732486" lvl="1" indent="-342900">
                        <a:buFont typeface="+mj-lt"/>
                        <a:buAutoNum type="alphaLcPeriod"/>
                      </a:pP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ager should </a:t>
                      </a:r>
                      <a:r>
                        <a:rPr lang="en-US" sz="1534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ieve</a:t>
                      </a: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essage in outlook and teams to approve.</a:t>
                      </a:r>
                    </a:p>
                    <a:p>
                      <a:pPr marL="732486" lvl="1" indent="-342900">
                        <a:buFont typeface="+mj-lt"/>
                        <a:buAutoNum type="alphaLcPeriod"/>
                      </a:pPr>
                      <a:endParaRPr lang="en-US" sz="1534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tails have been entered in incorrectly into the system:</a:t>
                      </a:r>
                    </a:p>
                    <a:p>
                      <a:pPr marL="732486" lvl="1" indent="-342900">
                        <a:buFont typeface="+mj-lt"/>
                        <a:buAutoNum type="alphaLcPeriod"/>
                      </a:pP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ssing details to be filled in (closing date, type of tender, corridor, contact person ,approver etc. )</a:t>
                      </a:r>
                    </a:p>
                    <a:p>
                      <a:pPr marL="732486" lvl="1" indent="-342900">
                        <a:buFont typeface="+mj-lt"/>
                        <a:buAutoNum type="alphaLcPeriod"/>
                      </a:pP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ected </a:t>
                      </a:r>
                      <a:r>
                        <a:rPr lang="en-US" sz="1534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liers</a:t>
                      </a: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mail </a:t>
                      </a:r>
                      <a:r>
                        <a:rPr lang="en-US" sz="1534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orectly</a:t>
                      </a: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written (spelling mistake)</a:t>
                      </a:r>
                    </a:p>
                    <a:p>
                      <a:pPr marL="732486" lvl="1" indent="-342900">
                        <a:buFont typeface="+mj-lt"/>
                        <a:buAutoNum type="alphaLcPeriod"/>
                      </a:pP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ected </a:t>
                      </a:r>
                      <a:r>
                        <a:rPr lang="en-US" sz="1534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lliers</a:t>
                      </a: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mails not </a:t>
                      </a:r>
                      <a:r>
                        <a:rPr lang="en-US" sz="1534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perated</a:t>
                      </a: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y semi colons ' ; '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37402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61176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D09BC89-A9C9-32DC-611F-3A11E6EFC936}"/>
              </a:ext>
            </a:extLst>
          </p:cNvPr>
          <p:cNvSpPr txBox="1"/>
          <p:nvPr/>
        </p:nvSpPr>
        <p:spPr>
          <a:xfrm>
            <a:off x="585983" y="61595"/>
            <a:ext cx="75377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>
              <a:defRPr/>
            </a:pPr>
            <a:r>
              <a:rPr lang="en-ZA" dirty="0">
                <a:solidFill>
                  <a:schemeClr val="bg1">
                    <a:lumMod val="50000"/>
                  </a:schemeClr>
                </a:solidFill>
                <a:latin typeface="Tahoma"/>
              </a:rPr>
              <a:t>E-TENDER PLATFORM – FAQs and Frequently Encountered User Issu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BEE889D-F89C-156B-F705-122C223E8C25}"/>
              </a:ext>
            </a:extLst>
          </p:cNvPr>
          <p:cNvSpPr txBox="1">
            <a:spLocks/>
          </p:cNvSpPr>
          <p:nvPr/>
        </p:nvSpPr>
        <p:spPr>
          <a:xfrm>
            <a:off x="585983" y="356616"/>
            <a:ext cx="10457775" cy="720105"/>
          </a:xfrm>
          <a:prstGeom prst="rect">
            <a:avLst/>
          </a:prstGeom>
        </p:spPr>
        <p:txBody>
          <a:bodyPr anchor="b"/>
          <a:lstStyle>
            <a:lvl1pPr algn="l" defTabSz="633078" rtl="0" eaLnBrk="1" latinLnBrk="0" hangingPunct="1">
              <a:spcBef>
                <a:spcPct val="0"/>
              </a:spcBef>
              <a:buNone/>
              <a:defRPr sz="2275" b="1" kern="1200" cap="none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ssues and Resolutions</a:t>
            </a:r>
            <a:endParaRPr lang="en-ZA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7" name="Table 28">
            <a:extLst>
              <a:ext uri="{FF2B5EF4-FFF2-40B4-BE49-F238E27FC236}">
                <a16:creationId xmlns:a16="http://schemas.microsoft.com/office/drawing/2014/main" id="{EEB914D4-4379-B8E8-388D-E30183D0FB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3327974"/>
              </p:ext>
            </p:extLst>
          </p:nvPr>
        </p:nvGraphicFramePr>
        <p:xfrm>
          <a:off x="585982" y="1307592"/>
          <a:ext cx="10996419" cy="4528439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755138">
                  <a:extLst>
                    <a:ext uri="{9D8B030D-6E8A-4147-A177-3AD203B41FA5}">
                      <a16:colId xmlns:a16="http://schemas.microsoft.com/office/drawing/2014/main" val="1468014291"/>
                    </a:ext>
                  </a:extLst>
                </a:gridCol>
                <a:gridCol w="4681728">
                  <a:extLst>
                    <a:ext uri="{9D8B030D-6E8A-4147-A177-3AD203B41FA5}">
                      <a16:colId xmlns:a16="http://schemas.microsoft.com/office/drawing/2014/main" val="1429369229"/>
                    </a:ext>
                  </a:extLst>
                </a:gridCol>
                <a:gridCol w="5559553">
                  <a:extLst>
                    <a:ext uri="{9D8B030D-6E8A-4147-A177-3AD203B41FA5}">
                      <a16:colId xmlns:a16="http://schemas.microsoft.com/office/drawing/2014/main" val="11837181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Issu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Resolution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74673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779173" rtl="0" eaLnBrk="1" fontAlgn="t" latinLnBrk="0" hangingPunct="1"/>
                      <a:r>
                        <a:rPr lang="en-ZA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endParaRPr lang="en-US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/>
                </a:tc>
                <a:tc>
                  <a:txBody>
                    <a:bodyPr/>
                    <a:lstStyle/>
                    <a:p>
                      <a:pPr marL="0" algn="l" defTabSz="779173" rtl="0" eaLnBrk="1" fontAlgn="t" latinLnBrk="0" hangingPunct="1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cess denied</a:t>
                      </a:r>
                    </a:p>
                  </a:txBody>
                  <a:tcPr marL="6350" marR="6350" marT="6350"/>
                </a:tc>
                <a:tc>
                  <a:txBody>
                    <a:bodyPr/>
                    <a:lstStyle/>
                    <a:p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tender link may have been forwarded to those who were not </a:t>
                      </a:r>
                      <a:r>
                        <a:rPr lang="en-US" sz="1534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horised</a:t>
                      </a: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 access the document.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11923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ZA" sz="1800" dirty="0">
                          <a:latin typeface="+mn-lt"/>
                        </a:rPr>
                        <a:t>6.</a:t>
                      </a:r>
                      <a:endParaRPr lang="en-US" sz="1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Tenders documents not being accessible despite being clos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sed on the response from the support team, the error could be caused by: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timing issue of clock </a:t>
                      </a:r>
                      <a:r>
                        <a:rPr lang="en-US" sz="1534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nchronisaton</a:t>
                      </a: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or when the tenders should close between international and local clocks.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dders files may still be busy uploading (due to large file sizes), even though they entered the system queue before the closing time.</a:t>
                      </a:r>
                    </a:p>
                    <a:p>
                      <a:pPr marL="0" indent="0">
                        <a:buFont typeface="+mj-lt"/>
                        <a:buNone/>
                      </a:pP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solution to this was deployed at the end of 2022, all documents should be available within 48 hours of closing.  </a:t>
                      </a:r>
                    </a:p>
                    <a:p>
                      <a:pPr marL="0" indent="0">
                        <a:buFont typeface="+mj-lt"/>
                        <a:buNone/>
                      </a:pPr>
                      <a:endParaRPr lang="en-US" sz="1534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buFont typeface="+mj-lt"/>
                        <a:buNone/>
                      </a:pP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 long as it is not an internal pending approval error.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endParaRPr lang="en-US" sz="1534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37402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94986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D09BC89-A9C9-32DC-611F-3A11E6EFC936}"/>
              </a:ext>
            </a:extLst>
          </p:cNvPr>
          <p:cNvSpPr txBox="1"/>
          <p:nvPr/>
        </p:nvSpPr>
        <p:spPr>
          <a:xfrm>
            <a:off x="585983" y="61595"/>
            <a:ext cx="75377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>
              <a:defRPr/>
            </a:pPr>
            <a:r>
              <a:rPr lang="en-ZA" dirty="0">
                <a:solidFill>
                  <a:schemeClr val="bg1">
                    <a:lumMod val="50000"/>
                  </a:schemeClr>
                </a:solidFill>
                <a:latin typeface="Tahoma"/>
              </a:rPr>
              <a:t>E-TENDER PLATFORM – FAQs and Frequently Encountered User Issu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BEE889D-F89C-156B-F705-122C223E8C25}"/>
              </a:ext>
            </a:extLst>
          </p:cNvPr>
          <p:cNvSpPr txBox="1">
            <a:spLocks/>
          </p:cNvSpPr>
          <p:nvPr/>
        </p:nvSpPr>
        <p:spPr>
          <a:xfrm>
            <a:off x="585983" y="356616"/>
            <a:ext cx="10457775" cy="720105"/>
          </a:xfrm>
          <a:prstGeom prst="rect">
            <a:avLst/>
          </a:prstGeom>
        </p:spPr>
        <p:txBody>
          <a:bodyPr anchor="b"/>
          <a:lstStyle>
            <a:lvl1pPr algn="l" defTabSz="633078" rtl="0" eaLnBrk="1" latinLnBrk="0" hangingPunct="1">
              <a:spcBef>
                <a:spcPct val="0"/>
              </a:spcBef>
              <a:buNone/>
              <a:defRPr sz="2275" b="1" kern="1200" cap="none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ssues and Resolutions</a:t>
            </a:r>
            <a:endParaRPr lang="en-ZA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7" name="Table 28">
            <a:extLst>
              <a:ext uri="{FF2B5EF4-FFF2-40B4-BE49-F238E27FC236}">
                <a16:creationId xmlns:a16="http://schemas.microsoft.com/office/drawing/2014/main" id="{EEB914D4-4379-B8E8-388D-E30183D0FB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2457777"/>
              </p:ext>
            </p:extLst>
          </p:nvPr>
        </p:nvGraphicFramePr>
        <p:xfrm>
          <a:off x="585982" y="1307592"/>
          <a:ext cx="10996419" cy="335940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755138">
                  <a:extLst>
                    <a:ext uri="{9D8B030D-6E8A-4147-A177-3AD203B41FA5}">
                      <a16:colId xmlns:a16="http://schemas.microsoft.com/office/drawing/2014/main" val="1468014291"/>
                    </a:ext>
                  </a:extLst>
                </a:gridCol>
                <a:gridCol w="4681728">
                  <a:extLst>
                    <a:ext uri="{9D8B030D-6E8A-4147-A177-3AD203B41FA5}">
                      <a16:colId xmlns:a16="http://schemas.microsoft.com/office/drawing/2014/main" val="1429369229"/>
                    </a:ext>
                  </a:extLst>
                </a:gridCol>
                <a:gridCol w="5559553">
                  <a:extLst>
                    <a:ext uri="{9D8B030D-6E8A-4147-A177-3AD203B41FA5}">
                      <a16:colId xmlns:a16="http://schemas.microsoft.com/office/drawing/2014/main" val="11837181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Issu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Resolution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74673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779173" rtl="0" eaLnBrk="1" fontAlgn="t" latinLnBrk="0" hangingPunct="1"/>
                      <a:r>
                        <a:rPr lang="en-ZA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.</a:t>
                      </a:r>
                      <a:endParaRPr lang="en-US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/>
                </a:tc>
                <a:tc>
                  <a:txBody>
                    <a:bodyPr/>
                    <a:lstStyle/>
                    <a:p>
                      <a:pPr marL="0" algn="l" defTabSz="779173" rtl="0" eaLnBrk="1" fontAlgn="t" latinLnBrk="0" hangingPunct="1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ime stamp delay</a:t>
                      </a:r>
                    </a:p>
                  </a:txBody>
                  <a:tcPr marL="6350" marR="6350" marT="6350"/>
                </a:tc>
                <a:tc>
                  <a:txBody>
                    <a:bodyPr/>
                    <a:lstStyle/>
                    <a:p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time stamp delay, could be due to the bidders still uploading the documents on the system due to large files.</a:t>
                      </a:r>
                    </a:p>
                    <a:p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t the bidders entering the queue to upload before the closing time.</a:t>
                      </a:r>
                    </a:p>
                    <a:p>
                      <a:endParaRPr lang="en-US" sz="1534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 new bidders could enter after closing time, but they may continue to finish uploading if entering system beforehand.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11923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ZA" sz="1800" dirty="0">
                          <a:latin typeface="+mn-lt"/>
                        </a:rPr>
                        <a:t>8.</a:t>
                      </a:r>
                      <a:endParaRPr lang="en-US" sz="1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Email used to register different than the one used for invi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tender link may have been forwarded to those who were not </a:t>
                      </a:r>
                      <a:r>
                        <a:rPr lang="en-US" sz="1534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horised</a:t>
                      </a: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 access the document.  Or the invitation was sent to a particular email address and the registration is being attempted with another email addres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37402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78813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D09BC89-A9C9-32DC-611F-3A11E6EFC936}"/>
              </a:ext>
            </a:extLst>
          </p:cNvPr>
          <p:cNvSpPr txBox="1"/>
          <p:nvPr/>
        </p:nvSpPr>
        <p:spPr>
          <a:xfrm>
            <a:off x="585983" y="61595"/>
            <a:ext cx="75377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>
              <a:defRPr/>
            </a:pPr>
            <a:r>
              <a:rPr lang="en-ZA" dirty="0">
                <a:solidFill>
                  <a:schemeClr val="bg1">
                    <a:lumMod val="50000"/>
                  </a:schemeClr>
                </a:solidFill>
                <a:latin typeface="Tahoma"/>
              </a:rPr>
              <a:t>E-TENDER PLATFORM – FAQs and Frequently Encountered User Issu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BEE889D-F89C-156B-F705-122C223E8C25}"/>
              </a:ext>
            </a:extLst>
          </p:cNvPr>
          <p:cNvSpPr txBox="1">
            <a:spLocks/>
          </p:cNvSpPr>
          <p:nvPr/>
        </p:nvSpPr>
        <p:spPr>
          <a:xfrm>
            <a:off x="585983" y="356616"/>
            <a:ext cx="10457775" cy="720105"/>
          </a:xfrm>
          <a:prstGeom prst="rect">
            <a:avLst/>
          </a:prstGeom>
        </p:spPr>
        <p:txBody>
          <a:bodyPr anchor="b"/>
          <a:lstStyle>
            <a:lvl1pPr algn="l" defTabSz="633078" rtl="0" eaLnBrk="1" latinLnBrk="0" hangingPunct="1">
              <a:spcBef>
                <a:spcPct val="0"/>
              </a:spcBef>
              <a:buNone/>
              <a:defRPr sz="2275" b="1" kern="1200" cap="none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ssues and Resolutions</a:t>
            </a:r>
            <a:endParaRPr lang="en-ZA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7" name="Table 28">
            <a:extLst>
              <a:ext uri="{FF2B5EF4-FFF2-40B4-BE49-F238E27FC236}">
                <a16:creationId xmlns:a16="http://schemas.microsoft.com/office/drawing/2014/main" id="{EEB914D4-4379-B8E8-388D-E30183D0FB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4107848"/>
              </p:ext>
            </p:extLst>
          </p:nvPr>
        </p:nvGraphicFramePr>
        <p:xfrm>
          <a:off x="585982" y="1307592"/>
          <a:ext cx="10996419" cy="2566543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755138">
                  <a:extLst>
                    <a:ext uri="{9D8B030D-6E8A-4147-A177-3AD203B41FA5}">
                      <a16:colId xmlns:a16="http://schemas.microsoft.com/office/drawing/2014/main" val="1468014291"/>
                    </a:ext>
                  </a:extLst>
                </a:gridCol>
                <a:gridCol w="4681728">
                  <a:extLst>
                    <a:ext uri="{9D8B030D-6E8A-4147-A177-3AD203B41FA5}">
                      <a16:colId xmlns:a16="http://schemas.microsoft.com/office/drawing/2014/main" val="1429369229"/>
                    </a:ext>
                  </a:extLst>
                </a:gridCol>
                <a:gridCol w="5559553">
                  <a:extLst>
                    <a:ext uri="{9D8B030D-6E8A-4147-A177-3AD203B41FA5}">
                      <a16:colId xmlns:a16="http://schemas.microsoft.com/office/drawing/2014/main" val="11837181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Issu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Resolution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74673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779173" rtl="0" eaLnBrk="1" fontAlgn="t" latinLnBrk="0" hangingPunct="1"/>
                      <a:r>
                        <a:rPr lang="en-ZA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.</a:t>
                      </a:r>
                      <a:endParaRPr lang="en-US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/>
                </a:tc>
                <a:tc>
                  <a:txBody>
                    <a:bodyPr/>
                    <a:lstStyle/>
                    <a:p>
                      <a:pPr marL="0" algn="l" defTabSz="779173" rtl="0" eaLnBrk="1" fontAlgn="t" latinLnBrk="0" hangingPunct="1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GI Error</a:t>
                      </a:r>
                    </a:p>
                  </a:txBody>
                  <a:tcPr marL="6350" marR="6350" marT="6350"/>
                </a:tc>
                <a:tc>
                  <a:txBody>
                    <a:bodyPr/>
                    <a:lstStyle/>
                    <a:p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CGI error could be caused due to a connection time out from the bidder side, and the browser keeping some items in a cache, on the browser.</a:t>
                      </a:r>
                    </a:p>
                    <a:p>
                      <a:endParaRPr lang="en-US" sz="1534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potential steps to address it could be: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n a new window in a new browser.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n a new window in an “incognito” mode (Chrome)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n a new window in “InPrivate” mode (Edge)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534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tempt to clear recent period history cache (Caution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11923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78654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1E6E2647-351D-BE49-BC4B-698A8004223D}"/>
              </a:ext>
            </a:extLst>
          </p:cNvPr>
          <p:cNvSpPr txBox="1"/>
          <p:nvPr/>
        </p:nvSpPr>
        <p:spPr>
          <a:xfrm>
            <a:off x="1595192" y="3170529"/>
            <a:ext cx="2883537" cy="577035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>
              <a:spcBef>
                <a:spcPts val="61"/>
              </a:spcBef>
            </a:pPr>
            <a:r>
              <a:rPr sz="3699" b="1" dirty="0">
                <a:solidFill>
                  <a:srgbClr val="FFFFFF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THANK</a:t>
            </a:r>
            <a:r>
              <a:rPr sz="3699" b="1" spc="-88" dirty="0">
                <a:solidFill>
                  <a:srgbClr val="FFFFFF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sz="3699" b="1" spc="-52" dirty="0">
                <a:solidFill>
                  <a:srgbClr val="FFFFFF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YOU</a:t>
            </a:r>
            <a:endParaRPr sz="3699" b="1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25957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 MASTER">
  <a:themeElements>
    <a:clrScheme name="Transnet">
      <a:dk1>
        <a:srgbClr val="000000"/>
      </a:dk1>
      <a:lt1>
        <a:sysClr val="window" lastClr="FFFFFF"/>
      </a:lt1>
      <a:dk2>
        <a:srgbClr val="69614E"/>
      </a:dk2>
      <a:lt2>
        <a:srgbClr val="C2BBAD"/>
      </a:lt2>
      <a:accent1>
        <a:srgbClr val="A1A250"/>
      </a:accent1>
      <a:accent2>
        <a:srgbClr val="6F90A7"/>
      </a:accent2>
      <a:accent3>
        <a:srgbClr val="84B5BD"/>
      </a:accent3>
      <a:accent4>
        <a:srgbClr val="C7B400"/>
      </a:accent4>
      <a:accent5>
        <a:srgbClr val="E42313"/>
      </a:accent5>
      <a:accent6>
        <a:srgbClr val="95C11F"/>
      </a:accent6>
      <a:hlink>
        <a:srgbClr val="00B0F0"/>
      </a:hlink>
      <a:folHlink>
        <a:srgbClr val="7030A0"/>
      </a:folHlink>
    </a:clrScheme>
    <a:fontScheme name="Transnet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wrap="square" lIns="36000" tIns="36000" rIns="36000" bIns="36000" rtlCol="0" anchor="ctr"/>
      <a:lstStyle>
        <a:defPPr algn="ctr">
          <a:lnSpc>
            <a:spcPct val="110000"/>
          </a:lnSpc>
          <a:spcBef>
            <a:spcPts val="92"/>
          </a:spcBef>
          <a:spcAft>
            <a:spcPts val="92"/>
          </a:spcAft>
          <a:defRPr sz="923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9_Firm Format - template_Blue">
  <a:themeElements>
    <a:clrScheme name="LETSEMA">
      <a:dk1>
        <a:srgbClr val="303333"/>
      </a:dk1>
      <a:lt1>
        <a:srgbClr val="FFFFFF"/>
      </a:lt1>
      <a:dk2>
        <a:srgbClr val="0A2E46"/>
      </a:dk2>
      <a:lt2>
        <a:srgbClr val="FFFFFF"/>
      </a:lt2>
      <a:accent1>
        <a:srgbClr val="0A2E46"/>
      </a:accent1>
      <a:accent2>
        <a:srgbClr val="1A6968"/>
      </a:accent2>
      <a:accent3>
        <a:srgbClr val="303333"/>
      </a:accent3>
      <a:accent4>
        <a:srgbClr val="61AC4A"/>
      </a:accent4>
      <a:accent5>
        <a:srgbClr val="AED363"/>
      </a:accent5>
      <a:accent6>
        <a:srgbClr val="0A2E46"/>
      </a:accent6>
      <a:hlink>
        <a:srgbClr val="1A6968"/>
      </a:hlink>
      <a:folHlink>
        <a:srgbClr val="303333"/>
      </a:folHlink>
    </a:clrScheme>
    <a:fontScheme name="LETSEMA1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9525">
          <a:noFill/>
        </a:ln>
      </a:spPr>
      <a:bodyPr rtlCol="0" anchor="ctr"/>
      <a:lstStyle>
        <a:defPPr algn="ctr">
          <a:defRPr sz="1400" dirty="0">
            <a:solidFill>
              <a:schemeClr val="bg1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A2E4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latin typeface="Calibri" panose="020F0502020204030204" pitchFamily="34" charset="0"/>
          </a:defRPr>
        </a:defPPr>
      </a:lstStyle>
    </a:tx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3.xml><?xml version="1.0" encoding="utf-8"?>
<a:theme xmlns:a="http://schemas.openxmlformats.org/drawingml/2006/main" name="Custom Design">
  <a:themeElements>
    <a:clrScheme name="00 Main light">
      <a:dk1>
        <a:srgbClr val="414042"/>
      </a:dk1>
      <a:lt1>
        <a:sysClr val="window" lastClr="FFFFFF"/>
      </a:lt1>
      <a:dk2>
        <a:srgbClr val="58595B"/>
      </a:dk2>
      <a:lt2>
        <a:srgbClr val="FFFFFF"/>
      </a:lt2>
      <a:accent1>
        <a:srgbClr val="FE2635"/>
      </a:accent1>
      <a:accent2>
        <a:srgbClr val="FFD000"/>
      </a:accent2>
      <a:accent3>
        <a:srgbClr val="00CEE8"/>
      </a:accent3>
      <a:accent4>
        <a:srgbClr val="03A9F4"/>
      </a:accent4>
      <a:accent5>
        <a:srgbClr val="065381"/>
      </a:accent5>
      <a:accent6>
        <a:srgbClr val="BD114D"/>
      </a:accent6>
      <a:hlink>
        <a:srgbClr val="F33B48"/>
      </a:hlink>
      <a:folHlink>
        <a:srgbClr val="FFC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0_Firm Format - template_Blue">
  <a:themeElements>
    <a:clrScheme name="LETSEMA">
      <a:dk1>
        <a:srgbClr val="303333"/>
      </a:dk1>
      <a:lt1>
        <a:srgbClr val="FFFFFF"/>
      </a:lt1>
      <a:dk2>
        <a:srgbClr val="0A2E46"/>
      </a:dk2>
      <a:lt2>
        <a:srgbClr val="FFFFFF"/>
      </a:lt2>
      <a:accent1>
        <a:srgbClr val="0A2E46"/>
      </a:accent1>
      <a:accent2>
        <a:srgbClr val="1A6968"/>
      </a:accent2>
      <a:accent3>
        <a:srgbClr val="303333"/>
      </a:accent3>
      <a:accent4>
        <a:srgbClr val="61AC4A"/>
      </a:accent4>
      <a:accent5>
        <a:srgbClr val="AED363"/>
      </a:accent5>
      <a:accent6>
        <a:srgbClr val="0A2E46"/>
      </a:accent6>
      <a:hlink>
        <a:srgbClr val="1A6968"/>
      </a:hlink>
      <a:folHlink>
        <a:srgbClr val="303333"/>
      </a:folHlink>
    </a:clrScheme>
    <a:fontScheme name="LETSEMA1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9525">
          <a:noFill/>
        </a:ln>
      </a:spPr>
      <a:bodyPr rtlCol="0" anchor="ctr"/>
      <a:lstStyle>
        <a:defPPr algn="ctr">
          <a:defRPr sz="1400" dirty="0">
            <a:solidFill>
              <a:schemeClr val="bg1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A2E4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latin typeface="Calibri" panose="020F0502020204030204" pitchFamily="34" charset="0"/>
          </a:defRPr>
        </a:defPPr>
      </a:lstStyle>
    </a:tx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5.xml><?xml version="1.0" encoding="utf-8"?>
<a:theme xmlns:a="http://schemas.openxmlformats.org/drawingml/2006/main" name="11_Firm Format - template_Blue">
  <a:themeElements>
    <a:clrScheme name="LETSEMA">
      <a:dk1>
        <a:srgbClr val="303333"/>
      </a:dk1>
      <a:lt1>
        <a:srgbClr val="FFFFFF"/>
      </a:lt1>
      <a:dk2>
        <a:srgbClr val="0A2E46"/>
      </a:dk2>
      <a:lt2>
        <a:srgbClr val="FFFFFF"/>
      </a:lt2>
      <a:accent1>
        <a:srgbClr val="0A2E46"/>
      </a:accent1>
      <a:accent2>
        <a:srgbClr val="1A6968"/>
      </a:accent2>
      <a:accent3>
        <a:srgbClr val="303333"/>
      </a:accent3>
      <a:accent4>
        <a:srgbClr val="61AC4A"/>
      </a:accent4>
      <a:accent5>
        <a:srgbClr val="AED363"/>
      </a:accent5>
      <a:accent6>
        <a:srgbClr val="0A2E46"/>
      </a:accent6>
      <a:hlink>
        <a:srgbClr val="1A6968"/>
      </a:hlink>
      <a:folHlink>
        <a:srgbClr val="303333"/>
      </a:folHlink>
    </a:clrScheme>
    <a:fontScheme name="LETSEMA1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9525">
          <a:noFill/>
        </a:ln>
      </a:spPr>
      <a:bodyPr rtlCol="0" anchor="ctr"/>
      <a:lstStyle>
        <a:defPPr algn="ctr">
          <a:defRPr sz="1400" dirty="0">
            <a:solidFill>
              <a:schemeClr val="bg1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A2E4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latin typeface="Calibri" panose="020F0502020204030204" pitchFamily="34" charset="0"/>
          </a:defRPr>
        </a:defPPr>
      </a:lstStyle>
    </a:tx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E86CADFC83C284AABA02E67EAA9A784" ma:contentTypeVersion="24" ma:contentTypeDescription="Create a new document." ma:contentTypeScope="" ma:versionID="22f33aed0723f400c15c9110d46f148b">
  <xsd:schema xmlns:xsd="http://www.w3.org/2001/XMLSchema" xmlns:xs="http://www.w3.org/2001/XMLSchema" xmlns:p="http://schemas.microsoft.com/office/2006/metadata/properties" xmlns:ns1="http://schemas.microsoft.com/sharepoint/v3" xmlns:ns3="6f7b4a7f-d44a-4f65-a9aa-96ec94e426e4" xmlns:ns4="584e2a90-0a3d-4822-aa79-a49007aaf019" xmlns:ns5="ac13aef0-e3c2-451b-8a0f-fa27211fa617" targetNamespace="http://schemas.microsoft.com/office/2006/metadata/properties" ma:root="true" ma:fieldsID="1488d104f53c86e4a0a3db6dbd7b150e" ns1:_="" ns3:_="" ns4:_="" ns5:_="">
    <xsd:import namespace="http://schemas.microsoft.com/sharepoint/v3"/>
    <xsd:import namespace="6f7b4a7f-d44a-4f65-a9aa-96ec94e426e4"/>
    <xsd:import namespace="584e2a90-0a3d-4822-aa79-a49007aaf019"/>
    <xsd:import namespace="ac13aef0-e3c2-451b-8a0f-fa27211fa617"/>
    <xsd:element name="properties">
      <xsd:complexType>
        <xsd:sequence>
          <xsd:element name="documentManagement">
            <xsd:complexType>
              <xsd:all>
                <xsd:element ref="ns3:Approval_x0020_Required" minOccurs="0"/>
                <xsd:element ref="ns3:Approvers" minOccurs="0"/>
                <xsd:element ref="ns3:Approve_x0020_Stage" minOccurs="0"/>
                <xsd:element ref="ns4:SharedWithUsers" minOccurs="0"/>
                <xsd:element ref="ns4:SharedWithDetails" minOccurs="0"/>
                <xsd:element ref="ns4:SharingHintHash" minOccurs="0"/>
                <xsd:element ref="ns5:MediaServiceMetadata" minOccurs="0"/>
                <xsd:element ref="ns5:MediaServiceFastMetadata" minOccurs="0"/>
                <xsd:element ref="ns5:MediaServiceAutoKeyPoints" minOccurs="0"/>
                <xsd:element ref="ns5:MediaServiceKeyPoints" minOccurs="0"/>
                <xsd:element ref="ns5:MediaServiceDateTaken" minOccurs="0"/>
                <xsd:element ref="ns5:MediaServiceAutoTags" minOccurs="0"/>
                <xsd:element ref="ns5:MediaLengthInSeconds" minOccurs="0"/>
                <xsd:element ref="ns1:_ip_UnifiedCompliancePolicyProperties" minOccurs="0"/>
                <xsd:element ref="ns1:_ip_UnifiedCompliancePolicyUIAction" minOccurs="0"/>
                <xsd:element ref="ns5:MediaServiceOCR" minOccurs="0"/>
                <xsd:element ref="ns5:MediaServiceGenerationTime" minOccurs="0"/>
                <xsd:element ref="ns5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7b4a7f-d44a-4f65-a9aa-96ec94e426e4" elementFormDefault="qualified">
    <xsd:import namespace="http://schemas.microsoft.com/office/2006/documentManagement/types"/>
    <xsd:import namespace="http://schemas.microsoft.com/office/infopath/2007/PartnerControls"/>
    <xsd:element name="Approval_x0020_Required" ma:index="8" nillable="true" ma:displayName="Approval Required" ma:default="No" ma:format="Dropdown" ma:internalName="Approval_x0020_Required">
      <xsd:simpleType>
        <xsd:restriction base="dms:Choice">
          <xsd:enumeration value="No"/>
          <xsd:enumeration value="Yes"/>
        </xsd:restriction>
      </xsd:simpleType>
    </xsd:element>
    <xsd:element name="Approvers" ma:index="9" nillable="true" ma:displayName="Approvers" ma:list="UserInfo" ma:SharePointGroup="0" ma:internalName="Approvers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Approve_x0020_Stage" ma:index="10" nillable="true" ma:displayName="Approve Stage" ma:format="Dropdown" ma:internalName="Approve_x0020_Stage">
      <xsd:simpleType>
        <xsd:restriction base="dms:Choice">
          <xsd:enumeration value="Approving"/>
          <xsd:enumeration value="Approved"/>
          <xsd:enumeration value="Rejec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4e2a90-0a3d-4822-aa79-a49007aaf019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13aef0-e3c2-451b-8a0f-fa27211fa6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9" nillable="true" ma:displayName="Tags" ma:internalName="MediaServiceAutoTags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haredContentType xmlns="Microsoft.SharePoint.Taxonomy.ContentTypeSync" SourceId="6402bf8a-be4c-4d43-8340-107e775f40e9" ContentTypeId="0x0101" PreviousValue="false"/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pproval_x0020_Required xmlns="6f7b4a7f-d44a-4f65-a9aa-96ec94e426e4">No</Approval_x0020_Required>
    <_ip_UnifiedCompliancePolicyUIAction xmlns="http://schemas.microsoft.com/sharepoint/v3" xsi:nil="true"/>
    <Approvers xmlns="6f7b4a7f-d44a-4f65-a9aa-96ec94e426e4">
      <UserInfo>
        <DisplayName/>
        <AccountId xsi:nil="true"/>
        <AccountType/>
      </UserInfo>
    </Approvers>
    <Approve_x0020_Stage xmlns="6f7b4a7f-d44a-4f65-a9aa-96ec94e426e4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49C91E3-9583-4060-B089-BD3344083C5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6f7b4a7f-d44a-4f65-a9aa-96ec94e426e4"/>
    <ds:schemaRef ds:uri="584e2a90-0a3d-4822-aa79-a49007aaf019"/>
    <ds:schemaRef ds:uri="ac13aef0-e3c2-451b-8a0f-fa27211fa6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8C82E73-5B0A-4EE1-8450-7486C2FBD0C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992A261-9AA9-4E9F-B7F0-C711C60D1C47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9672F9E6-FA22-4A9E-95F6-11D7673A8D2A}">
  <ds:schemaRefs>
    <ds:schemaRef ds:uri="http://schemas.microsoft.com/office/2006/documentManagement/types"/>
    <ds:schemaRef ds:uri="http://purl.org/dc/terms/"/>
    <ds:schemaRef ds:uri="http://purl.org/dc/dcmitype/"/>
    <ds:schemaRef ds:uri="http://purl.org/dc/elements/1.1/"/>
    <ds:schemaRef ds:uri="584e2a90-0a3d-4822-aa79-a49007aaf019"/>
    <ds:schemaRef ds:uri="http://schemas.microsoft.com/sharepoint/v3"/>
    <ds:schemaRef ds:uri="http://schemas.microsoft.com/office/2006/metadata/properties"/>
    <ds:schemaRef ds:uri="6f7b4a7f-d44a-4f65-a9aa-96ec94e426e4"/>
    <ds:schemaRef ds:uri="http://schemas.microsoft.com/office/infopath/2007/PartnerControls"/>
    <ds:schemaRef ds:uri="http://schemas.openxmlformats.org/package/2006/metadata/core-properties"/>
    <ds:schemaRef ds:uri="ac13aef0-e3c2-451b-8a0f-fa27211fa617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34</TotalTime>
  <Words>666</Words>
  <Application>Microsoft Office PowerPoint</Application>
  <PresentationFormat>Widescreen</PresentationFormat>
  <Paragraphs>82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2" baseType="lpstr">
      <vt:lpstr>Arial</vt:lpstr>
      <vt:lpstr>Calibri</vt:lpstr>
      <vt:lpstr>Courier New</vt:lpstr>
      <vt:lpstr>Open Sans</vt:lpstr>
      <vt:lpstr>Segoe UI</vt:lpstr>
      <vt:lpstr>Segoe UI Light</vt:lpstr>
      <vt:lpstr>Segoe UI Semibold</vt:lpstr>
      <vt:lpstr>Tahoma</vt:lpstr>
      <vt:lpstr>Tahoma Regular</vt:lpstr>
      <vt:lpstr>TEMPLATE MASTER</vt:lpstr>
      <vt:lpstr>9_Firm Format - template_Blue</vt:lpstr>
      <vt:lpstr>Custom Design</vt:lpstr>
      <vt:lpstr>10_Firm Format - template_Blue</vt:lpstr>
      <vt:lpstr>11_Firm Format - template_Blu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endy Strauss</dc:creator>
  <cp:lastModifiedBy>Mikail</cp:lastModifiedBy>
  <cp:revision>377</cp:revision>
  <dcterms:created xsi:type="dcterms:W3CDTF">2020-05-19T16:46:16Z</dcterms:created>
  <dcterms:modified xsi:type="dcterms:W3CDTF">2023-05-09T14:09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E86CADFC83C284AABA02E67EAA9A784</vt:lpwstr>
  </property>
</Properties>
</file>